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92" r:id="rId1"/>
  </p:sldMasterIdLst>
  <p:notesMasterIdLst>
    <p:notesMasterId r:id="rId20"/>
  </p:notesMasterIdLst>
  <p:sldIdLst>
    <p:sldId id="524" r:id="rId2"/>
    <p:sldId id="262" r:id="rId3"/>
    <p:sldId id="506" r:id="rId4"/>
    <p:sldId id="504" r:id="rId5"/>
    <p:sldId id="510" r:id="rId6"/>
    <p:sldId id="503" r:id="rId7"/>
    <p:sldId id="523" r:id="rId8"/>
    <p:sldId id="505" r:id="rId9"/>
    <p:sldId id="521" r:id="rId10"/>
    <p:sldId id="512" r:id="rId11"/>
    <p:sldId id="522" r:id="rId12"/>
    <p:sldId id="507" r:id="rId13"/>
    <p:sldId id="511" r:id="rId14"/>
    <p:sldId id="508" r:id="rId15"/>
    <p:sldId id="516" r:id="rId16"/>
    <p:sldId id="525" r:id="rId17"/>
    <p:sldId id="514" r:id="rId18"/>
    <p:sldId id="515" r:id="rId19"/>
  </p:sldIdLst>
  <p:sldSz cx="12192000" cy="6858000"/>
  <p:notesSz cx="6858000" cy="9144000"/>
  <p:embeddedFontLst>
    <p:embeddedFont>
      <p:font typeface="Calibri" panose="020F0502020204030204" pitchFamily="34" charset="0"/>
      <p:regular r:id="rId21"/>
      <p:bold r:id="rId22"/>
      <p:italic r:id="rId23"/>
      <p:boldItalic r:id="rId24"/>
    </p:embeddedFont>
    <p:embeddedFont>
      <p:font typeface="Century Gothic" panose="020B0502020202020204" pitchFamily="34" charset="0"/>
      <p:regular r:id="rId25"/>
      <p:bold r:id="rId26"/>
      <p:italic r:id="rId27"/>
      <p:boldItalic r:id="rId28"/>
    </p:embeddedFont>
    <p:embeddedFont>
      <p:font typeface="Wingdings 3" panose="05040102010807070707" pitchFamily="18" charset="2"/>
      <p:regular r:id="rId29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ENI KAKAGIANNI" initials="EK" lastIdx="2" clrIdx="0">
    <p:extLst>
      <p:ext uri="{19B8F6BF-5375-455C-9EA6-DF929625EA0E}">
        <p15:presenceInfo xmlns:p15="http://schemas.microsoft.com/office/powerpoint/2012/main" userId="ELENI KAKAGIANN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4249" autoAdjust="0"/>
  </p:normalViewPr>
  <p:slideViewPr>
    <p:cSldViewPr snapToGrid="0">
      <p:cViewPr varScale="1">
        <p:scale>
          <a:sx n="81" d="100"/>
          <a:sy n="81" d="100"/>
        </p:scale>
        <p:origin x="75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6.fntdata"/><Relationship Id="rId3" Type="http://schemas.openxmlformats.org/officeDocument/2006/relationships/slide" Target="slides/slide2.xml"/><Relationship Id="rId21" Type="http://schemas.openxmlformats.org/officeDocument/2006/relationships/font" Target="fonts/font1.fntdata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5.fntdata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4.fntdata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49465F-C275-46C4-9F58-FF79DE6B5F19}" type="datetimeFigureOut">
              <a:rPr lang="en-US" smtClean="0"/>
              <a:t>11/1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848F32-41AE-43D3-898C-481754A991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3061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Get thousands of templates, icons, maps, diagrams and charts with Power-user. Visit https://www.powerusersoftwares.com/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36390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74204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6293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εικόνας διαφάνειας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- Θέση σημειώσεων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l-GR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848F32-41AE-43D3-898C-481754A9914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εικόνας διαφάνειας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- Θέση σημειώσεων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l-GR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848F32-41AE-43D3-898C-481754A99141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1/1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469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11/18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588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11/1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6552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11/1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9991183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11/1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1131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11/18/2020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6216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11/18/2020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5352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1/1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1918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1/1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1363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1/1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4153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1/1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2882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1/1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6914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1/18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4773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1/18/2020</a:t>
            </a:fld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6001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1/18/2020</a:t>
            </a:fld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8883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1/18/2020</a:t>
            </a:fld>
            <a:endParaRPr lang="en-US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8091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1/1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5910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AA70F276-1833-4A75-9C1D-A56E2295A68D}" type="datetimeFigureOut">
              <a:rPr lang="en-US" smtClean="0"/>
              <a:pPr/>
              <a:t>11/1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9619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4" Type="http://schemas.openxmlformats.org/officeDocument/2006/relationships/image" Target="../media/image21.jpg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2.png"/><Relationship Id="rId7" Type="http://schemas.openxmlformats.org/officeDocument/2006/relationships/image" Target="../media/image8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image" Target="../media/image11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image" Target="../media/image1.jpeg"/><Relationship Id="rId2" Type="http://schemas.openxmlformats.org/officeDocument/2006/relationships/tags" Target="../tags/tag31.xml"/><Relationship Id="rId16" Type="http://schemas.openxmlformats.org/officeDocument/2006/relationships/notesSlide" Target="../notesSlides/notesSlide3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39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urface, close, blue&#10;&#10;Description automatically generated">
            <a:extLst>
              <a:ext uri="{FF2B5EF4-FFF2-40B4-BE49-F238E27FC236}">
                <a16:creationId xmlns:a16="http://schemas.microsoft.com/office/drawing/2014/main" id="{FF7C9B22-A76C-4286-BCF2-A6F262025B5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57" r="11110" b="1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F3E1695-97E4-4E46-9A47-78171344DC70}"/>
              </a:ext>
            </a:extLst>
          </p:cNvPr>
          <p:cNvSpPr txBox="1"/>
          <p:nvPr/>
        </p:nvSpPr>
        <p:spPr>
          <a:xfrm>
            <a:off x="3614371" y="1958459"/>
            <a:ext cx="622935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/>
              <a:t> MSc IN BUSINESS ANALYTICS</a:t>
            </a:r>
            <a:endParaRPr lang="en-US" sz="2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C947FB-80E0-4D50-9FC3-EDF55C91D038}"/>
              </a:ext>
            </a:extLst>
          </p:cNvPr>
          <p:cNvSpPr txBox="1"/>
          <p:nvPr/>
        </p:nvSpPr>
        <p:spPr>
          <a:xfrm>
            <a:off x="2876842" y="2728976"/>
            <a:ext cx="751566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/>
              <a:t>MACHINE LEARNING &amp; CONTENT ANALYTICS</a:t>
            </a:r>
            <a:br>
              <a:rPr lang="el-GR" sz="2400" b="1"/>
            </a:br>
            <a:endParaRPr lang="en-US" sz="2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D0063B-A85C-404D-A2E4-D8F7D22B9F1D}"/>
              </a:ext>
            </a:extLst>
          </p:cNvPr>
          <p:cNvSpPr txBox="1"/>
          <p:nvPr/>
        </p:nvSpPr>
        <p:spPr>
          <a:xfrm>
            <a:off x="3646903" y="3329140"/>
            <a:ext cx="619681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i="0">
                <a:effectLst/>
                <a:latin typeface="+mj-lt"/>
              </a:rPr>
              <a:t> SDG Classification-Topic Analysis </a:t>
            </a:r>
            <a:endParaRPr lang="en-US" sz="2400" dirty="0"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6D99720-D051-4F93-A1AA-15BB888D1C14}"/>
              </a:ext>
            </a:extLst>
          </p:cNvPr>
          <p:cNvSpPr txBox="1"/>
          <p:nvPr/>
        </p:nvSpPr>
        <p:spPr>
          <a:xfrm>
            <a:off x="4228967" y="3930637"/>
            <a:ext cx="619681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/>
              <a:t>Instructor: Haris Papageorgiou</a:t>
            </a:r>
            <a:endParaRPr lang="en-US" sz="2000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684F337-AD51-4B6A-842A-BAC18296F803}"/>
              </a:ext>
            </a:extLst>
          </p:cNvPr>
          <p:cNvSpPr txBox="1"/>
          <p:nvPr/>
        </p:nvSpPr>
        <p:spPr>
          <a:xfrm>
            <a:off x="10250128" y="6078751"/>
            <a:ext cx="172556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/>
              <a:t>October 2020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31814561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- TextBox"/>
          <p:cNvSpPr txBox="1"/>
          <p:nvPr/>
        </p:nvSpPr>
        <p:spPr>
          <a:xfrm>
            <a:off x="817417" y="637308"/>
            <a:ext cx="5977278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ypes of Neurons</a:t>
            </a:r>
            <a:endParaRPr kumimoji="0" lang="el-GR" sz="3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7" name="6 - Πεντάγωνο"/>
          <p:cNvSpPr/>
          <p:nvPr/>
        </p:nvSpPr>
        <p:spPr>
          <a:xfrm>
            <a:off x="7023100" y="1905000"/>
            <a:ext cx="3568700" cy="2768600"/>
          </a:xfrm>
          <a:prstGeom prst="homePlate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Convolutional Neural Network(CNN)</a:t>
            </a:r>
          </a:p>
          <a:p>
            <a:pPr marR="0" lvl="1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800100" marR="0" lvl="1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onvolutional Neural Network with multiple inputs(two)</a:t>
            </a: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5 - Πεντάγωνο"/>
          <p:cNvSpPr/>
          <p:nvPr/>
        </p:nvSpPr>
        <p:spPr>
          <a:xfrm>
            <a:off x="3975100" y="1905000"/>
            <a:ext cx="3479800" cy="2745232"/>
          </a:xfrm>
          <a:prstGeom prst="homePlat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ecurrent Neural    Network(RNN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800100" marR="0" lvl="1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ecurrent Neural Network with multiple inputs(two)</a:t>
            </a:r>
          </a:p>
        </p:txBody>
      </p:sp>
      <p:sp>
        <p:nvSpPr>
          <p:cNvPr id="5" name="4 - Πεντάγωνο"/>
          <p:cNvSpPr/>
          <p:nvPr/>
        </p:nvSpPr>
        <p:spPr>
          <a:xfrm>
            <a:off x="914400" y="1854200"/>
            <a:ext cx="3429000" cy="2794000"/>
          </a:xfrm>
          <a:prstGeom prst="homePlate">
            <a:avLst>
              <a:gd name="adj" fmla="val 51969"/>
            </a:avLst>
          </a:prstGeom>
          <a:solidFill>
            <a:schemeClr val="accent4"/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marR="0" lvl="0" indent="-3429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Feed forward Neural Network (MLP) – Artificial Neuron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6" grpId="0" animBg="1"/>
      <p:bldP spid="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TextBox"/>
          <p:cNvSpPr txBox="1"/>
          <p:nvPr/>
        </p:nvSpPr>
        <p:spPr>
          <a:xfrm>
            <a:off x="292100" y="273824"/>
            <a:ext cx="7527876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900" dirty="0"/>
              <a:t>Feed forward Neural Network</a:t>
            </a:r>
            <a:endParaRPr lang="el-GR" sz="3900" dirty="0"/>
          </a:p>
        </p:txBody>
      </p:sp>
      <p:sp>
        <p:nvSpPr>
          <p:cNvPr id="3" name="2 - TextBox"/>
          <p:cNvSpPr txBox="1"/>
          <p:nvPr/>
        </p:nvSpPr>
        <p:spPr>
          <a:xfrm>
            <a:off x="446845" y="1098160"/>
            <a:ext cx="527050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US" dirty="0"/>
              <a:t>Multilayer Perceptions, or MLPs for short, are the classical type of neural network.</a:t>
            </a:r>
          </a:p>
          <a:p>
            <a:pPr fontAlgn="base"/>
            <a:r>
              <a:rPr lang="en-US" dirty="0"/>
              <a:t>They are comprised of one or more layers of neurons.</a:t>
            </a:r>
            <a:endParaRPr lang="el-GR" dirty="0"/>
          </a:p>
          <a:p>
            <a:pPr fontAlgn="base"/>
            <a:endParaRPr lang="el-GR" dirty="0"/>
          </a:p>
          <a:p>
            <a:pPr fontAlgn="base"/>
            <a:r>
              <a:rPr lang="en-US" dirty="0"/>
              <a:t> Data is fed to the input layer, there may be one or more hidden layers providing levels of abstraction and predictions are made on the output layer.</a:t>
            </a:r>
            <a:endParaRPr lang="el-GR" dirty="0"/>
          </a:p>
          <a:p>
            <a:pPr fontAlgn="base"/>
            <a:endParaRPr lang="en-US" dirty="0"/>
          </a:p>
          <a:p>
            <a:endParaRPr lang="el-GR" dirty="0"/>
          </a:p>
        </p:txBody>
      </p:sp>
      <p:pic>
        <p:nvPicPr>
          <p:cNvPr id="4" name="3 - Εικόνα" descr="mlp imag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63120" y="3778001"/>
            <a:ext cx="3921361" cy="24591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6" name="TextBox 21">
            <a:extLst>
              <a:ext uri="{FF2B5EF4-FFF2-40B4-BE49-F238E27FC236}">
                <a16:creationId xmlns:a16="http://schemas.microsoft.com/office/drawing/2014/main" id="{26F1C461-984D-4077-B8D4-AE1671A0B567}"/>
              </a:ext>
            </a:extLst>
          </p:cNvPr>
          <p:cNvSpPr txBox="1"/>
          <p:nvPr/>
        </p:nvSpPr>
        <p:spPr>
          <a:xfrm>
            <a:off x="5925820" y="1226221"/>
            <a:ext cx="5974080" cy="5386090"/>
          </a:xfrm>
          <a:custGeom>
            <a:avLst/>
            <a:gdLst>
              <a:gd name="connsiteX0" fmla="*/ 0 w 5974080"/>
              <a:gd name="connsiteY0" fmla="*/ 0 h 5386090"/>
              <a:gd name="connsiteX1" fmla="*/ 537667 w 5974080"/>
              <a:gd name="connsiteY1" fmla="*/ 0 h 5386090"/>
              <a:gd name="connsiteX2" fmla="*/ 1194816 w 5974080"/>
              <a:gd name="connsiteY2" fmla="*/ 0 h 5386090"/>
              <a:gd name="connsiteX3" fmla="*/ 1613002 w 5974080"/>
              <a:gd name="connsiteY3" fmla="*/ 0 h 5386090"/>
              <a:gd name="connsiteX4" fmla="*/ 2270150 w 5974080"/>
              <a:gd name="connsiteY4" fmla="*/ 0 h 5386090"/>
              <a:gd name="connsiteX5" fmla="*/ 2987040 w 5974080"/>
              <a:gd name="connsiteY5" fmla="*/ 0 h 5386090"/>
              <a:gd name="connsiteX6" fmla="*/ 3703930 w 5974080"/>
              <a:gd name="connsiteY6" fmla="*/ 0 h 5386090"/>
              <a:gd name="connsiteX7" fmla="*/ 4420819 w 5974080"/>
              <a:gd name="connsiteY7" fmla="*/ 0 h 5386090"/>
              <a:gd name="connsiteX8" fmla="*/ 4898746 w 5974080"/>
              <a:gd name="connsiteY8" fmla="*/ 0 h 5386090"/>
              <a:gd name="connsiteX9" fmla="*/ 5974080 w 5974080"/>
              <a:gd name="connsiteY9" fmla="*/ 0 h 5386090"/>
              <a:gd name="connsiteX10" fmla="*/ 5974080 w 5974080"/>
              <a:gd name="connsiteY10" fmla="*/ 544594 h 5386090"/>
              <a:gd name="connsiteX11" fmla="*/ 5974080 w 5974080"/>
              <a:gd name="connsiteY11" fmla="*/ 1250770 h 5386090"/>
              <a:gd name="connsiteX12" fmla="*/ 5974080 w 5974080"/>
              <a:gd name="connsiteY12" fmla="*/ 1903085 h 5386090"/>
              <a:gd name="connsiteX13" fmla="*/ 5974080 w 5974080"/>
              <a:gd name="connsiteY13" fmla="*/ 2339957 h 5386090"/>
              <a:gd name="connsiteX14" fmla="*/ 5974080 w 5974080"/>
              <a:gd name="connsiteY14" fmla="*/ 2938411 h 5386090"/>
              <a:gd name="connsiteX15" fmla="*/ 5974080 w 5974080"/>
              <a:gd name="connsiteY15" fmla="*/ 3429144 h 5386090"/>
              <a:gd name="connsiteX16" fmla="*/ 5974080 w 5974080"/>
              <a:gd name="connsiteY16" fmla="*/ 3919877 h 5386090"/>
              <a:gd name="connsiteX17" fmla="*/ 5974080 w 5974080"/>
              <a:gd name="connsiteY17" fmla="*/ 4572192 h 5386090"/>
              <a:gd name="connsiteX18" fmla="*/ 5974080 w 5974080"/>
              <a:gd name="connsiteY18" fmla="*/ 5386090 h 5386090"/>
              <a:gd name="connsiteX19" fmla="*/ 5316931 w 5974080"/>
              <a:gd name="connsiteY19" fmla="*/ 5386090 h 5386090"/>
              <a:gd name="connsiteX20" fmla="*/ 4779264 w 5974080"/>
              <a:gd name="connsiteY20" fmla="*/ 5386090 h 5386090"/>
              <a:gd name="connsiteX21" fmla="*/ 4181856 w 5974080"/>
              <a:gd name="connsiteY21" fmla="*/ 5386090 h 5386090"/>
              <a:gd name="connsiteX22" fmla="*/ 3763670 w 5974080"/>
              <a:gd name="connsiteY22" fmla="*/ 5386090 h 5386090"/>
              <a:gd name="connsiteX23" fmla="*/ 3046781 w 5974080"/>
              <a:gd name="connsiteY23" fmla="*/ 5386090 h 5386090"/>
              <a:gd name="connsiteX24" fmla="*/ 2329891 w 5974080"/>
              <a:gd name="connsiteY24" fmla="*/ 5386090 h 5386090"/>
              <a:gd name="connsiteX25" fmla="*/ 1732483 w 5974080"/>
              <a:gd name="connsiteY25" fmla="*/ 5386090 h 5386090"/>
              <a:gd name="connsiteX26" fmla="*/ 1075334 w 5974080"/>
              <a:gd name="connsiteY26" fmla="*/ 5386090 h 5386090"/>
              <a:gd name="connsiteX27" fmla="*/ 0 w 5974080"/>
              <a:gd name="connsiteY27" fmla="*/ 5386090 h 5386090"/>
              <a:gd name="connsiteX28" fmla="*/ 0 w 5974080"/>
              <a:gd name="connsiteY28" fmla="*/ 4949218 h 5386090"/>
              <a:gd name="connsiteX29" fmla="*/ 0 w 5974080"/>
              <a:gd name="connsiteY29" fmla="*/ 4512347 h 5386090"/>
              <a:gd name="connsiteX30" fmla="*/ 0 w 5974080"/>
              <a:gd name="connsiteY30" fmla="*/ 4021614 h 5386090"/>
              <a:gd name="connsiteX31" fmla="*/ 0 w 5974080"/>
              <a:gd name="connsiteY31" fmla="*/ 3423159 h 5386090"/>
              <a:gd name="connsiteX32" fmla="*/ 0 w 5974080"/>
              <a:gd name="connsiteY32" fmla="*/ 2824705 h 5386090"/>
              <a:gd name="connsiteX33" fmla="*/ 0 w 5974080"/>
              <a:gd name="connsiteY33" fmla="*/ 2280111 h 5386090"/>
              <a:gd name="connsiteX34" fmla="*/ 0 w 5974080"/>
              <a:gd name="connsiteY34" fmla="*/ 1681657 h 5386090"/>
              <a:gd name="connsiteX35" fmla="*/ 0 w 5974080"/>
              <a:gd name="connsiteY35" fmla="*/ 1083203 h 5386090"/>
              <a:gd name="connsiteX36" fmla="*/ 0 w 5974080"/>
              <a:gd name="connsiteY36" fmla="*/ 538609 h 5386090"/>
              <a:gd name="connsiteX37" fmla="*/ 0 w 5974080"/>
              <a:gd name="connsiteY37" fmla="*/ 0 h 5386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5974080" h="5386090" fill="none" extrusionOk="0">
                <a:moveTo>
                  <a:pt x="0" y="0"/>
                </a:moveTo>
                <a:cubicBezTo>
                  <a:pt x="198766" y="-25082"/>
                  <a:pt x="353075" y="31995"/>
                  <a:pt x="537667" y="0"/>
                </a:cubicBezTo>
                <a:cubicBezTo>
                  <a:pt x="722259" y="-31995"/>
                  <a:pt x="890121" y="28172"/>
                  <a:pt x="1194816" y="0"/>
                </a:cubicBezTo>
                <a:cubicBezTo>
                  <a:pt x="1499511" y="-28172"/>
                  <a:pt x="1529158" y="42755"/>
                  <a:pt x="1613002" y="0"/>
                </a:cubicBezTo>
                <a:cubicBezTo>
                  <a:pt x="1696846" y="-42755"/>
                  <a:pt x="1977408" y="24301"/>
                  <a:pt x="2270150" y="0"/>
                </a:cubicBezTo>
                <a:cubicBezTo>
                  <a:pt x="2562892" y="-24301"/>
                  <a:pt x="2703031" y="69067"/>
                  <a:pt x="2987040" y="0"/>
                </a:cubicBezTo>
                <a:cubicBezTo>
                  <a:pt x="3271049" y="-69067"/>
                  <a:pt x="3470388" y="59373"/>
                  <a:pt x="3703930" y="0"/>
                </a:cubicBezTo>
                <a:cubicBezTo>
                  <a:pt x="3937472" y="-59373"/>
                  <a:pt x="4098906" y="62919"/>
                  <a:pt x="4420819" y="0"/>
                </a:cubicBezTo>
                <a:cubicBezTo>
                  <a:pt x="4742732" y="-62919"/>
                  <a:pt x="4733466" y="47115"/>
                  <a:pt x="4898746" y="0"/>
                </a:cubicBezTo>
                <a:cubicBezTo>
                  <a:pt x="5064026" y="-47115"/>
                  <a:pt x="5549037" y="42106"/>
                  <a:pt x="5974080" y="0"/>
                </a:cubicBezTo>
                <a:cubicBezTo>
                  <a:pt x="6010940" y="139577"/>
                  <a:pt x="5937909" y="286051"/>
                  <a:pt x="5974080" y="544594"/>
                </a:cubicBezTo>
                <a:cubicBezTo>
                  <a:pt x="6010251" y="803137"/>
                  <a:pt x="5943023" y="971744"/>
                  <a:pt x="5974080" y="1250770"/>
                </a:cubicBezTo>
                <a:cubicBezTo>
                  <a:pt x="6005137" y="1529796"/>
                  <a:pt x="5953002" y="1739693"/>
                  <a:pt x="5974080" y="1903085"/>
                </a:cubicBezTo>
                <a:cubicBezTo>
                  <a:pt x="5995158" y="2066478"/>
                  <a:pt x="5970568" y="2213277"/>
                  <a:pt x="5974080" y="2339957"/>
                </a:cubicBezTo>
                <a:cubicBezTo>
                  <a:pt x="5977592" y="2466637"/>
                  <a:pt x="5957277" y="2699587"/>
                  <a:pt x="5974080" y="2938411"/>
                </a:cubicBezTo>
                <a:cubicBezTo>
                  <a:pt x="5990883" y="3177235"/>
                  <a:pt x="5935288" y="3264413"/>
                  <a:pt x="5974080" y="3429144"/>
                </a:cubicBezTo>
                <a:cubicBezTo>
                  <a:pt x="6012872" y="3593875"/>
                  <a:pt x="5952719" y="3754034"/>
                  <a:pt x="5974080" y="3919877"/>
                </a:cubicBezTo>
                <a:cubicBezTo>
                  <a:pt x="5995441" y="4085720"/>
                  <a:pt x="5905021" y="4378313"/>
                  <a:pt x="5974080" y="4572192"/>
                </a:cubicBezTo>
                <a:cubicBezTo>
                  <a:pt x="6043139" y="4766072"/>
                  <a:pt x="5910481" y="5011403"/>
                  <a:pt x="5974080" y="5386090"/>
                </a:cubicBezTo>
                <a:cubicBezTo>
                  <a:pt x="5807230" y="5396157"/>
                  <a:pt x="5564957" y="5365183"/>
                  <a:pt x="5316931" y="5386090"/>
                </a:cubicBezTo>
                <a:cubicBezTo>
                  <a:pt x="5068905" y="5406997"/>
                  <a:pt x="4889648" y="5341845"/>
                  <a:pt x="4779264" y="5386090"/>
                </a:cubicBezTo>
                <a:cubicBezTo>
                  <a:pt x="4668880" y="5430335"/>
                  <a:pt x="4318247" y="5345782"/>
                  <a:pt x="4181856" y="5386090"/>
                </a:cubicBezTo>
                <a:cubicBezTo>
                  <a:pt x="4045465" y="5426398"/>
                  <a:pt x="3896930" y="5376321"/>
                  <a:pt x="3763670" y="5386090"/>
                </a:cubicBezTo>
                <a:cubicBezTo>
                  <a:pt x="3630410" y="5395859"/>
                  <a:pt x="3191558" y="5362908"/>
                  <a:pt x="3046781" y="5386090"/>
                </a:cubicBezTo>
                <a:cubicBezTo>
                  <a:pt x="2902004" y="5409272"/>
                  <a:pt x="2550057" y="5340205"/>
                  <a:pt x="2329891" y="5386090"/>
                </a:cubicBezTo>
                <a:cubicBezTo>
                  <a:pt x="2109725" y="5431975"/>
                  <a:pt x="1939270" y="5363884"/>
                  <a:pt x="1732483" y="5386090"/>
                </a:cubicBezTo>
                <a:cubicBezTo>
                  <a:pt x="1525696" y="5408296"/>
                  <a:pt x="1270941" y="5351204"/>
                  <a:pt x="1075334" y="5386090"/>
                </a:cubicBezTo>
                <a:cubicBezTo>
                  <a:pt x="879727" y="5420976"/>
                  <a:pt x="465685" y="5293598"/>
                  <a:pt x="0" y="5386090"/>
                </a:cubicBezTo>
                <a:cubicBezTo>
                  <a:pt x="-38755" y="5244802"/>
                  <a:pt x="10603" y="5064288"/>
                  <a:pt x="0" y="4949218"/>
                </a:cubicBezTo>
                <a:cubicBezTo>
                  <a:pt x="-10603" y="4834148"/>
                  <a:pt x="49046" y="4650873"/>
                  <a:pt x="0" y="4512347"/>
                </a:cubicBezTo>
                <a:cubicBezTo>
                  <a:pt x="-49046" y="4373821"/>
                  <a:pt x="27829" y="4238853"/>
                  <a:pt x="0" y="4021614"/>
                </a:cubicBezTo>
                <a:cubicBezTo>
                  <a:pt x="-27829" y="3804375"/>
                  <a:pt x="63444" y="3701173"/>
                  <a:pt x="0" y="3423159"/>
                </a:cubicBezTo>
                <a:cubicBezTo>
                  <a:pt x="-63444" y="3145146"/>
                  <a:pt x="49688" y="3025259"/>
                  <a:pt x="0" y="2824705"/>
                </a:cubicBezTo>
                <a:cubicBezTo>
                  <a:pt x="-49688" y="2624151"/>
                  <a:pt x="15444" y="2446431"/>
                  <a:pt x="0" y="2280111"/>
                </a:cubicBezTo>
                <a:cubicBezTo>
                  <a:pt x="-15444" y="2113791"/>
                  <a:pt x="39579" y="1836749"/>
                  <a:pt x="0" y="1681657"/>
                </a:cubicBezTo>
                <a:cubicBezTo>
                  <a:pt x="-39579" y="1526565"/>
                  <a:pt x="21095" y="1371997"/>
                  <a:pt x="0" y="1083203"/>
                </a:cubicBezTo>
                <a:cubicBezTo>
                  <a:pt x="-21095" y="794409"/>
                  <a:pt x="53345" y="806774"/>
                  <a:pt x="0" y="538609"/>
                </a:cubicBezTo>
                <a:cubicBezTo>
                  <a:pt x="-53345" y="270444"/>
                  <a:pt x="59312" y="153549"/>
                  <a:pt x="0" y="0"/>
                </a:cubicBezTo>
                <a:close/>
              </a:path>
              <a:path w="5974080" h="5386090" stroke="0" extrusionOk="0">
                <a:moveTo>
                  <a:pt x="0" y="0"/>
                </a:moveTo>
                <a:cubicBezTo>
                  <a:pt x="340090" y="-32536"/>
                  <a:pt x="411842" y="26810"/>
                  <a:pt x="716890" y="0"/>
                </a:cubicBezTo>
                <a:cubicBezTo>
                  <a:pt x="1021938" y="-26810"/>
                  <a:pt x="1194995" y="31197"/>
                  <a:pt x="1433779" y="0"/>
                </a:cubicBezTo>
                <a:cubicBezTo>
                  <a:pt x="1672563" y="-31197"/>
                  <a:pt x="1833282" y="9223"/>
                  <a:pt x="2090928" y="0"/>
                </a:cubicBezTo>
                <a:cubicBezTo>
                  <a:pt x="2348574" y="-9223"/>
                  <a:pt x="2377955" y="7768"/>
                  <a:pt x="2509114" y="0"/>
                </a:cubicBezTo>
                <a:cubicBezTo>
                  <a:pt x="2640273" y="-7768"/>
                  <a:pt x="2812709" y="25901"/>
                  <a:pt x="3106522" y="0"/>
                </a:cubicBezTo>
                <a:cubicBezTo>
                  <a:pt x="3400335" y="-25901"/>
                  <a:pt x="3395156" y="13214"/>
                  <a:pt x="3524707" y="0"/>
                </a:cubicBezTo>
                <a:cubicBezTo>
                  <a:pt x="3654258" y="-13214"/>
                  <a:pt x="3778781" y="5668"/>
                  <a:pt x="3942893" y="0"/>
                </a:cubicBezTo>
                <a:cubicBezTo>
                  <a:pt x="4107005" y="-5668"/>
                  <a:pt x="4246471" y="63970"/>
                  <a:pt x="4540301" y="0"/>
                </a:cubicBezTo>
                <a:cubicBezTo>
                  <a:pt x="4834131" y="-63970"/>
                  <a:pt x="5044032" y="30128"/>
                  <a:pt x="5197450" y="0"/>
                </a:cubicBezTo>
                <a:cubicBezTo>
                  <a:pt x="5350868" y="-30128"/>
                  <a:pt x="5597749" y="63304"/>
                  <a:pt x="5974080" y="0"/>
                </a:cubicBezTo>
                <a:cubicBezTo>
                  <a:pt x="5990659" y="284547"/>
                  <a:pt x="5905520" y="438546"/>
                  <a:pt x="5974080" y="598454"/>
                </a:cubicBezTo>
                <a:cubicBezTo>
                  <a:pt x="6042640" y="758362"/>
                  <a:pt x="5919449" y="878349"/>
                  <a:pt x="5974080" y="1089187"/>
                </a:cubicBezTo>
                <a:cubicBezTo>
                  <a:pt x="6028711" y="1300025"/>
                  <a:pt x="5973925" y="1581233"/>
                  <a:pt x="5974080" y="1741502"/>
                </a:cubicBezTo>
                <a:cubicBezTo>
                  <a:pt x="5974235" y="1901771"/>
                  <a:pt x="5959361" y="2198025"/>
                  <a:pt x="5974080" y="2447679"/>
                </a:cubicBezTo>
                <a:cubicBezTo>
                  <a:pt x="5988799" y="2697333"/>
                  <a:pt x="5938691" y="2697850"/>
                  <a:pt x="5974080" y="2884550"/>
                </a:cubicBezTo>
                <a:cubicBezTo>
                  <a:pt x="6009469" y="3071250"/>
                  <a:pt x="5968287" y="3355889"/>
                  <a:pt x="5974080" y="3483005"/>
                </a:cubicBezTo>
                <a:cubicBezTo>
                  <a:pt x="5979873" y="3610122"/>
                  <a:pt x="5973702" y="3958758"/>
                  <a:pt x="5974080" y="4081459"/>
                </a:cubicBezTo>
                <a:cubicBezTo>
                  <a:pt x="5974458" y="4204160"/>
                  <a:pt x="5945090" y="4423580"/>
                  <a:pt x="5974080" y="4733775"/>
                </a:cubicBezTo>
                <a:cubicBezTo>
                  <a:pt x="6003070" y="5043970"/>
                  <a:pt x="5973950" y="5147540"/>
                  <a:pt x="5974080" y="5386090"/>
                </a:cubicBezTo>
                <a:cubicBezTo>
                  <a:pt x="5790515" y="5407283"/>
                  <a:pt x="5703922" y="5373244"/>
                  <a:pt x="5555894" y="5386090"/>
                </a:cubicBezTo>
                <a:cubicBezTo>
                  <a:pt x="5407866" y="5398936"/>
                  <a:pt x="5080742" y="5308048"/>
                  <a:pt x="4839005" y="5386090"/>
                </a:cubicBezTo>
                <a:cubicBezTo>
                  <a:pt x="4597268" y="5464132"/>
                  <a:pt x="4466919" y="5339761"/>
                  <a:pt x="4361078" y="5386090"/>
                </a:cubicBezTo>
                <a:cubicBezTo>
                  <a:pt x="4255237" y="5432419"/>
                  <a:pt x="4143693" y="5359343"/>
                  <a:pt x="3942893" y="5386090"/>
                </a:cubicBezTo>
                <a:cubicBezTo>
                  <a:pt x="3742094" y="5412837"/>
                  <a:pt x="3503563" y="5383175"/>
                  <a:pt x="3285744" y="5386090"/>
                </a:cubicBezTo>
                <a:cubicBezTo>
                  <a:pt x="3067925" y="5389005"/>
                  <a:pt x="3071174" y="5340455"/>
                  <a:pt x="2867558" y="5386090"/>
                </a:cubicBezTo>
                <a:cubicBezTo>
                  <a:pt x="2663942" y="5431725"/>
                  <a:pt x="2479671" y="5370276"/>
                  <a:pt x="2150669" y="5386090"/>
                </a:cubicBezTo>
                <a:cubicBezTo>
                  <a:pt x="1821667" y="5401904"/>
                  <a:pt x="1813833" y="5349634"/>
                  <a:pt x="1672742" y="5386090"/>
                </a:cubicBezTo>
                <a:cubicBezTo>
                  <a:pt x="1531651" y="5422546"/>
                  <a:pt x="1340606" y="5371436"/>
                  <a:pt x="1135075" y="5386090"/>
                </a:cubicBezTo>
                <a:cubicBezTo>
                  <a:pt x="929544" y="5400744"/>
                  <a:pt x="806591" y="5372467"/>
                  <a:pt x="716890" y="5386090"/>
                </a:cubicBezTo>
                <a:cubicBezTo>
                  <a:pt x="627189" y="5399713"/>
                  <a:pt x="178566" y="5353265"/>
                  <a:pt x="0" y="5386090"/>
                </a:cubicBezTo>
                <a:cubicBezTo>
                  <a:pt x="-10820" y="5269590"/>
                  <a:pt x="51460" y="5010962"/>
                  <a:pt x="0" y="4895357"/>
                </a:cubicBezTo>
                <a:cubicBezTo>
                  <a:pt x="-51460" y="4779752"/>
                  <a:pt x="47394" y="4469695"/>
                  <a:pt x="0" y="4189181"/>
                </a:cubicBezTo>
                <a:cubicBezTo>
                  <a:pt x="-47394" y="3908667"/>
                  <a:pt x="31512" y="3643409"/>
                  <a:pt x="0" y="3483005"/>
                </a:cubicBezTo>
                <a:cubicBezTo>
                  <a:pt x="-31512" y="3322601"/>
                  <a:pt x="63629" y="3038181"/>
                  <a:pt x="0" y="2884550"/>
                </a:cubicBezTo>
                <a:cubicBezTo>
                  <a:pt x="-63629" y="2730920"/>
                  <a:pt x="32950" y="2446730"/>
                  <a:pt x="0" y="2178374"/>
                </a:cubicBezTo>
                <a:cubicBezTo>
                  <a:pt x="-32950" y="1910018"/>
                  <a:pt x="47273" y="1683870"/>
                  <a:pt x="0" y="1472198"/>
                </a:cubicBezTo>
                <a:cubicBezTo>
                  <a:pt x="-47273" y="1260526"/>
                  <a:pt x="37935" y="1097100"/>
                  <a:pt x="0" y="981465"/>
                </a:cubicBezTo>
                <a:cubicBezTo>
                  <a:pt x="-37935" y="865830"/>
                  <a:pt x="98776" y="254955"/>
                  <a:pt x="0" y="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extLst>
              <a:ext uri="{C807C97D-BFC1-408E-A445-0C87EB9F89A2}">
                <ask:lineSketchStyleProps xmlns:ask="http://schemas.microsoft.com/office/drawing/2018/sketchyshapes" sd="3823374539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000000"/>
                </a:solidFill>
                <a:latin typeface="Calibri" panose="020F0502020204030204" pitchFamily="34" charset="0"/>
              </a:rPr>
              <a:t>Parameters Configuration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max_word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: the max words per input (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max_word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= 300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nb_classe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: number of classes for the output labels (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nb_classe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= 6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nb_epoch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: number of epochs that we will train our feed forward network (30 epochs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: the batch size of the data that will be fed to the model while training (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= 32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dropout_rate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: how many neurons should be shut down per epoch (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dropout_rate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= 0.4)</a:t>
            </a:r>
            <a:endParaRPr lang="el-GR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loss: “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categorical_crossentropy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”, since we have categorical output valu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optimizer: “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adam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”, Adam optimization is a stochastic gradient descent method that is based on adaptive estimation of first-order and second-order moments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metrics: “accuracy</a:t>
            </a:r>
            <a:r>
              <a:rPr lang="en-US" sz="2000" dirty="0"/>
              <a:t>”</a:t>
            </a:r>
            <a:endParaRPr lang="en-US" sz="2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479395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A9BF533-F092-440D-9618-5CCDB094EE40}"/>
              </a:ext>
            </a:extLst>
          </p:cNvPr>
          <p:cNvSpPr txBox="1"/>
          <p:nvPr/>
        </p:nvSpPr>
        <p:spPr>
          <a:xfrm>
            <a:off x="465539" y="343614"/>
            <a:ext cx="8840386" cy="62864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700" b="0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onvolutional Neural Network (CNN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76BA83-9556-452D-AFF2-276D70F75491}"/>
              </a:ext>
            </a:extLst>
          </p:cNvPr>
          <p:cNvSpPr txBox="1"/>
          <p:nvPr/>
        </p:nvSpPr>
        <p:spPr>
          <a:xfrm>
            <a:off x="444520" y="1102816"/>
            <a:ext cx="5772150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US" sz="2400" dirty="0">
                <a:latin typeface="Calibri" panose="020F0502020204030204" pitchFamily="34" charset="0"/>
              </a:rPr>
              <a:t>U</a:t>
            </a:r>
            <a:r>
              <a:rPr lang="en-US" sz="2400" i="0" u="none" strike="noStrike" baseline="0" dirty="0">
                <a:latin typeface="Calibri" panose="020F0502020204030204" pitchFamily="34" charset="0"/>
              </a:rPr>
              <a:t>se the concept of a “convolution”, a sliding window function or “filter” that passes over a matrix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US" sz="2400" dirty="0">
                <a:latin typeface="Calibri" panose="020F0502020204030204" pitchFamily="34" charset="0"/>
              </a:rPr>
              <a:t> Identify</a:t>
            </a:r>
            <a:r>
              <a:rPr lang="en-US" sz="2400" i="0" u="none" strike="noStrike" baseline="0" dirty="0">
                <a:latin typeface="Calibri" panose="020F0502020204030204" pitchFamily="34" charset="0"/>
              </a:rPr>
              <a:t> important features and analyzing them one at a time, then reducing them down to their essential characteristics, and repeating the process.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>
                <a:latin typeface="Calibri" panose="020F0502020204030204" pitchFamily="34" charset="0"/>
              </a:rPr>
              <a:t>During the training phase,  a CNN automatically learns the values of its filters based on the task that we want to perform.</a:t>
            </a:r>
            <a:endParaRPr lang="en-US" sz="2400" i="0" u="none" strike="noStrike" baseline="0" dirty="0">
              <a:latin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875A1F8-455A-4CCE-A31A-1E3F41D0ABB9}"/>
              </a:ext>
            </a:extLst>
          </p:cNvPr>
          <p:cNvSpPr txBox="1"/>
          <p:nvPr/>
        </p:nvSpPr>
        <p:spPr>
          <a:xfrm>
            <a:off x="2941748" y="4824121"/>
            <a:ext cx="3887968" cy="2000548"/>
          </a:xfrm>
          <a:custGeom>
            <a:avLst/>
            <a:gdLst>
              <a:gd name="connsiteX0" fmla="*/ 0 w 3887968"/>
              <a:gd name="connsiteY0" fmla="*/ 0 h 2000548"/>
              <a:gd name="connsiteX1" fmla="*/ 438785 w 3887968"/>
              <a:gd name="connsiteY1" fmla="*/ 0 h 2000548"/>
              <a:gd name="connsiteX2" fmla="*/ 1033089 w 3887968"/>
              <a:gd name="connsiteY2" fmla="*/ 0 h 2000548"/>
              <a:gd name="connsiteX3" fmla="*/ 1627392 w 3887968"/>
              <a:gd name="connsiteY3" fmla="*/ 0 h 2000548"/>
              <a:gd name="connsiteX4" fmla="*/ 2105057 w 3887968"/>
              <a:gd name="connsiteY4" fmla="*/ 0 h 2000548"/>
              <a:gd name="connsiteX5" fmla="*/ 2699361 w 3887968"/>
              <a:gd name="connsiteY5" fmla="*/ 0 h 2000548"/>
              <a:gd name="connsiteX6" fmla="*/ 3254785 w 3887968"/>
              <a:gd name="connsiteY6" fmla="*/ 0 h 2000548"/>
              <a:gd name="connsiteX7" fmla="*/ 3887968 w 3887968"/>
              <a:gd name="connsiteY7" fmla="*/ 0 h 2000548"/>
              <a:gd name="connsiteX8" fmla="*/ 3887968 w 3887968"/>
              <a:gd name="connsiteY8" fmla="*/ 520142 h 2000548"/>
              <a:gd name="connsiteX9" fmla="*/ 3887968 w 3887968"/>
              <a:gd name="connsiteY9" fmla="*/ 1020279 h 2000548"/>
              <a:gd name="connsiteX10" fmla="*/ 3887968 w 3887968"/>
              <a:gd name="connsiteY10" fmla="*/ 1520416 h 2000548"/>
              <a:gd name="connsiteX11" fmla="*/ 3887968 w 3887968"/>
              <a:gd name="connsiteY11" fmla="*/ 2000548 h 2000548"/>
              <a:gd name="connsiteX12" fmla="*/ 3371424 w 3887968"/>
              <a:gd name="connsiteY12" fmla="*/ 2000548 h 2000548"/>
              <a:gd name="connsiteX13" fmla="*/ 2738240 w 3887968"/>
              <a:gd name="connsiteY13" fmla="*/ 2000548 h 2000548"/>
              <a:gd name="connsiteX14" fmla="*/ 2299455 w 3887968"/>
              <a:gd name="connsiteY14" fmla="*/ 2000548 h 2000548"/>
              <a:gd name="connsiteX15" fmla="*/ 1705152 w 3887968"/>
              <a:gd name="connsiteY15" fmla="*/ 2000548 h 2000548"/>
              <a:gd name="connsiteX16" fmla="*/ 1149728 w 3887968"/>
              <a:gd name="connsiteY16" fmla="*/ 2000548 h 2000548"/>
              <a:gd name="connsiteX17" fmla="*/ 633183 w 3887968"/>
              <a:gd name="connsiteY17" fmla="*/ 2000548 h 2000548"/>
              <a:gd name="connsiteX18" fmla="*/ 0 w 3887968"/>
              <a:gd name="connsiteY18" fmla="*/ 2000548 h 2000548"/>
              <a:gd name="connsiteX19" fmla="*/ 0 w 3887968"/>
              <a:gd name="connsiteY19" fmla="*/ 1520416 h 2000548"/>
              <a:gd name="connsiteX20" fmla="*/ 0 w 3887968"/>
              <a:gd name="connsiteY20" fmla="*/ 1060290 h 2000548"/>
              <a:gd name="connsiteX21" fmla="*/ 0 w 3887968"/>
              <a:gd name="connsiteY21" fmla="*/ 580159 h 2000548"/>
              <a:gd name="connsiteX22" fmla="*/ 0 w 3887968"/>
              <a:gd name="connsiteY22" fmla="*/ 0 h 2000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887968" h="2000548" fill="none" extrusionOk="0">
                <a:moveTo>
                  <a:pt x="0" y="0"/>
                </a:moveTo>
                <a:cubicBezTo>
                  <a:pt x="134832" y="-8268"/>
                  <a:pt x="245149" y="18189"/>
                  <a:pt x="438785" y="0"/>
                </a:cubicBezTo>
                <a:cubicBezTo>
                  <a:pt x="632421" y="-18189"/>
                  <a:pt x="862766" y="20279"/>
                  <a:pt x="1033089" y="0"/>
                </a:cubicBezTo>
                <a:cubicBezTo>
                  <a:pt x="1203412" y="-20279"/>
                  <a:pt x="1350777" y="47543"/>
                  <a:pt x="1627392" y="0"/>
                </a:cubicBezTo>
                <a:cubicBezTo>
                  <a:pt x="1904007" y="-47543"/>
                  <a:pt x="1991374" y="43924"/>
                  <a:pt x="2105057" y="0"/>
                </a:cubicBezTo>
                <a:cubicBezTo>
                  <a:pt x="2218741" y="-43924"/>
                  <a:pt x="2424520" y="36350"/>
                  <a:pt x="2699361" y="0"/>
                </a:cubicBezTo>
                <a:cubicBezTo>
                  <a:pt x="2974202" y="-36350"/>
                  <a:pt x="3010758" y="11623"/>
                  <a:pt x="3254785" y="0"/>
                </a:cubicBezTo>
                <a:cubicBezTo>
                  <a:pt x="3498812" y="-11623"/>
                  <a:pt x="3582977" y="58866"/>
                  <a:pt x="3887968" y="0"/>
                </a:cubicBezTo>
                <a:cubicBezTo>
                  <a:pt x="3926335" y="187968"/>
                  <a:pt x="3871128" y="405770"/>
                  <a:pt x="3887968" y="520142"/>
                </a:cubicBezTo>
                <a:cubicBezTo>
                  <a:pt x="3904808" y="634514"/>
                  <a:pt x="3881592" y="771401"/>
                  <a:pt x="3887968" y="1020279"/>
                </a:cubicBezTo>
                <a:cubicBezTo>
                  <a:pt x="3894344" y="1269157"/>
                  <a:pt x="3861934" y="1290696"/>
                  <a:pt x="3887968" y="1520416"/>
                </a:cubicBezTo>
                <a:cubicBezTo>
                  <a:pt x="3914002" y="1750136"/>
                  <a:pt x="3854804" y="1762278"/>
                  <a:pt x="3887968" y="2000548"/>
                </a:cubicBezTo>
                <a:cubicBezTo>
                  <a:pt x="3672933" y="2034749"/>
                  <a:pt x="3515027" y="1967905"/>
                  <a:pt x="3371424" y="2000548"/>
                </a:cubicBezTo>
                <a:cubicBezTo>
                  <a:pt x="3227821" y="2033191"/>
                  <a:pt x="2941026" y="1935632"/>
                  <a:pt x="2738240" y="2000548"/>
                </a:cubicBezTo>
                <a:cubicBezTo>
                  <a:pt x="2535454" y="2065464"/>
                  <a:pt x="2513513" y="1951116"/>
                  <a:pt x="2299455" y="2000548"/>
                </a:cubicBezTo>
                <a:cubicBezTo>
                  <a:pt x="2085397" y="2049980"/>
                  <a:pt x="1990115" y="1942225"/>
                  <a:pt x="1705152" y="2000548"/>
                </a:cubicBezTo>
                <a:cubicBezTo>
                  <a:pt x="1420189" y="2058871"/>
                  <a:pt x="1392007" y="1965189"/>
                  <a:pt x="1149728" y="2000548"/>
                </a:cubicBezTo>
                <a:cubicBezTo>
                  <a:pt x="907449" y="2035907"/>
                  <a:pt x="846351" y="1942093"/>
                  <a:pt x="633183" y="2000548"/>
                </a:cubicBezTo>
                <a:cubicBezTo>
                  <a:pt x="420016" y="2059003"/>
                  <a:pt x="294535" y="1996655"/>
                  <a:pt x="0" y="2000548"/>
                </a:cubicBezTo>
                <a:cubicBezTo>
                  <a:pt x="-30400" y="1820371"/>
                  <a:pt x="29790" y="1625217"/>
                  <a:pt x="0" y="1520416"/>
                </a:cubicBezTo>
                <a:cubicBezTo>
                  <a:pt x="-29790" y="1415615"/>
                  <a:pt x="7100" y="1235602"/>
                  <a:pt x="0" y="1060290"/>
                </a:cubicBezTo>
                <a:cubicBezTo>
                  <a:pt x="-7100" y="884978"/>
                  <a:pt x="35694" y="707778"/>
                  <a:pt x="0" y="580159"/>
                </a:cubicBezTo>
                <a:cubicBezTo>
                  <a:pt x="-35694" y="452540"/>
                  <a:pt x="36815" y="141341"/>
                  <a:pt x="0" y="0"/>
                </a:cubicBezTo>
                <a:close/>
              </a:path>
              <a:path w="3887968" h="2000548" stroke="0" extrusionOk="0">
                <a:moveTo>
                  <a:pt x="0" y="0"/>
                </a:moveTo>
                <a:cubicBezTo>
                  <a:pt x="273700" y="-61998"/>
                  <a:pt x="347930" y="46555"/>
                  <a:pt x="555424" y="0"/>
                </a:cubicBezTo>
                <a:cubicBezTo>
                  <a:pt x="762918" y="-46555"/>
                  <a:pt x="967931" y="68590"/>
                  <a:pt x="1149728" y="0"/>
                </a:cubicBezTo>
                <a:cubicBezTo>
                  <a:pt x="1331525" y="-68590"/>
                  <a:pt x="1388355" y="10105"/>
                  <a:pt x="1588513" y="0"/>
                </a:cubicBezTo>
                <a:cubicBezTo>
                  <a:pt x="1788671" y="-10105"/>
                  <a:pt x="1947606" y="39074"/>
                  <a:pt x="2143937" y="0"/>
                </a:cubicBezTo>
                <a:cubicBezTo>
                  <a:pt x="2340268" y="-39074"/>
                  <a:pt x="2546536" y="18432"/>
                  <a:pt x="2738240" y="0"/>
                </a:cubicBezTo>
                <a:cubicBezTo>
                  <a:pt x="2929944" y="-18432"/>
                  <a:pt x="3062689" y="34492"/>
                  <a:pt x="3177025" y="0"/>
                </a:cubicBezTo>
                <a:cubicBezTo>
                  <a:pt x="3291361" y="-34492"/>
                  <a:pt x="3711296" y="8437"/>
                  <a:pt x="3887968" y="0"/>
                </a:cubicBezTo>
                <a:cubicBezTo>
                  <a:pt x="3937552" y="129774"/>
                  <a:pt x="3839340" y="251079"/>
                  <a:pt x="3887968" y="480132"/>
                </a:cubicBezTo>
                <a:cubicBezTo>
                  <a:pt x="3936596" y="709185"/>
                  <a:pt x="3844573" y="782086"/>
                  <a:pt x="3887968" y="960263"/>
                </a:cubicBezTo>
                <a:cubicBezTo>
                  <a:pt x="3931363" y="1138440"/>
                  <a:pt x="3861110" y="1222115"/>
                  <a:pt x="3887968" y="1480406"/>
                </a:cubicBezTo>
                <a:cubicBezTo>
                  <a:pt x="3914826" y="1738697"/>
                  <a:pt x="3848583" y="1777796"/>
                  <a:pt x="3887968" y="2000548"/>
                </a:cubicBezTo>
                <a:cubicBezTo>
                  <a:pt x="3702473" y="2000586"/>
                  <a:pt x="3513869" y="1951317"/>
                  <a:pt x="3254785" y="2000548"/>
                </a:cubicBezTo>
                <a:cubicBezTo>
                  <a:pt x="2995701" y="2049779"/>
                  <a:pt x="2885457" y="1981205"/>
                  <a:pt x="2738240" y="2000548"/>
                </a:cubicBezTo>
                <a:cubicBezTo>
                  <a:pt x="2591023" y="2019891"/>
                  <a:pt x="2457212" y="1991695"/>
                  <a:pt x="2260576" y="2000548"/>
                </a:cubicBezTo>
                <a:cubicBezTo>
                  <a:pt x="2063940" y="2009401"/>
                  <a:pt x="1950129" y="1998000"/>
                  <a:pt x="1782911" y="2000548"/>
                </a:cubicBezTo>
                <a:cubicBezTo>
                  <a:pt x="1615694" y="2003096"/>
                  <a:pt x="1401010" y="1989274"/>
                  <a:pt x="1227487" y="2000548"/>
                </a:cubicBezTo>
                <a:cubicBezTo>
                  <a:pt x="1053964" y="2011822"/>
                  <a:pt x="928163" y="1994723"/>
                  <a:pt x="672063" y="2000548"/>
                </a:cubicBezTo>
                <a:cubicBezTo>
                  <a:pt x="415963" y="2006373"/>
                  <a:pt x="173602" y="1987955"/>
                  <a:pt x="0" y="2000548"/>
                </a:cubicBezTo>
                <a:cubicBezTo>
                  <a:pt x="-32784" y="1852333"/>
                  <a:pt x="13548" y="1594337"/>
                  <a:pt x="0" y="1480406"/>
                </a:cubicBezTo>
                <a:cubicBezTo>
                  <a:pt x="-13548" y="1366475"/>
                  <a:pt x="37883" y="1176407"/>
                  <a:pt x="0" y="1020279"/>
                </a:cubicBezTo>
                <a:cubicBezTo>
                  <a:pt x="-37883" y="864151"/>
                  <a:pt x="3422" y="618546"/>
                  <a:pt x="0" y="480132"/>
                </a:cubicBezTo>
                <a:cubicBezTo>
                  <a:pt x="-3422" y="341718"/>
                  <a:pt x="17760" y="218003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3950756230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rained 2 model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: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ith Dropout Rate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ithout Dropout Rat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ropout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yperparameter is the probability of training a given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de in a layer.</a:t>
            </a:r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6F1C461-984D-4077-B8D4-AE1671A0B567}"/>
              </a:ext>
            </a:extLst>
          </p:cNvPr>
          <p:cNvSpPr txBox="1"/>
          <p:nvPr/>
        </p:nvSpPr>
        <p:spPr>
          <a:xfrm>
            <a:off x="6307147" y="1079016"/>
            <a:ext cx="5772150" cy="5386090"/>
          </a:xfrm>
          <a:custGeom>
            <a:avLst/>
            <a:gdLst>
              <a:gd name="connsiteX0" fmla="*/ 0 w 5772150"/>
              <a:gd name="connsiteY0" fmla="*/ 0 h 5386090"/>
              <a:gd name="connsiteX1" fmla="*/ 519494 w 5772150"/>
              <a:gd name="connsiteY1" fmla="*/ 0 h 5386090"/>
              <a:gd name="connsiteX2" fmla="*/ 1154430 w 5772150"/>
              <a:gd name="connsiteY2" fmla="*/ 0 h 5386090"/>
              <a:gd name="connsiteX3" fmla="*/ 1558481 w 5772150"/>
              <a:gd name="connsiteY3" fmla="*/ 0 h 5386090"/>
              <a:gd name="connsiteX4" fmla="*/ 2193417 w 5772150"/>
              <a:gd name="connsiteY4" fmla="*/ 0 h 5386090"/>
              <a:gd name="connsiteX5" fmla="*/ 2886075 w 5772150"/>
              <a:gd name="connsiteY5" fmla="*/ 0 h 5386090"/>
              <a:gd name="connsiteX6" fmla="*/ 3578733 w 5772150"/>
              <a:gd name="connsiteY6" fmla="*/ 0 h 5386090"/>
              <a:gd name="connsiteX7" fmla="*/ 4271391 w 5772150"/>
              <a:gd name="connsiteY7" fmla="*/ 0 h 5386090"/>
              <a:gd name="connsiteX8" fmla="*/ 4733163 w 5772150"/>
              <a:gd name="connsiteY8" fmla="*/ 0 h 5386090"/>
              <a:gd name="connsiteX9" fmla="*/ 5772150 w 5772150"/>
              <a:gd name="connsiteY9" fmla="*/ 0 h 5386090"/>
              <a:gd name="connsiteX10" fmla="*/ 5772150 w 5772150"/>
              <a:gd name="connsiteY10" fmla="*/ 544594 h 5386090"/>
              <a:gd name="connsiteX11" fmla="*/ 5772150 w 5772150"/>
              <a:gd name="connsiteY11" fmla="*/ 1250770 h 5386090"/>
              <a:gd name="connsiteX12" fmla="*/ 5772150 w 5772150"/>
              <a:gd name="connsiteY12" fmla="*/ 1903085 h 5386090"/>
              <a:gd name="connsiteX13" fmla="*/ 5772150 w 5772150"/>
              <a:gd name="connsiteY13" fmla="*/ 2339957 h 5386090"/>
              <a:gd name="connsiteX14" fmla="*/ 5772150 w 5772150"/>
              <a:gd name="connsiteY14" fmla="*/ 2938411 h 5386090"/>
              <a:gd name="connsiteX15" fmla="*/ 5772150 w 5772150"/>
              <a:gd name="connsiteY15" fmla="*/ 3429144 h 5386090"/>
              <a:gd name="connsiteX16" fmla="*/ 5772150 w 5772150"/>
              <a:gd name="connsiteY16" fmla="*/ 3919877 h 5386090"/>
              <a:gd name="connsiteX17" fmla="*/ 5772150 w 5772150"/>
              <a:gd name="connsiteY17" fmla="*/ 4572192 h 5386090"/>
              <a:gd name="connsiteX18" fmla="*/ 5772150 w 5772150"/>
              <a:gd name="connsiteY18" fmla="*/ 5386090 h 5386090"/>
              <a:gd name="connsiteX19" fmla="*/ 5137214 w 5772150"/>
              <a:gd name="connsiteY19" fmla="*/ 5386090 h 5386090"/>
              <a:gd name="connsiteX20" fmla="*/ 4617720 w 5772150"/>
              <a:gd name="connsiteY20" fmla="*/ 5386090 h 5386090"/>
              <a:gd name="connsiteX21" fmla="*/ 4040505 w 5772150"/>
              <a:gd name="connsiteY21" fmla="*/ 5386090 h 5386090"/>
              <a:gd name="connsiteX22" fmla="*/ 3636454 w 5772150"/>
              <a:gd name="connsiteY22" fmla="*/ 5386090 h 5386090"/>
              <a:gd name="connsiteX23" fmla="*/ 2943797 w 5772150"/>
              <a:gd name="connsiteY23" fmla="*/ 5386090 h 5386090"/>
              <a:gd name="connsiteX24" fmla="*/ 2251138 w 5772150"/>
              <a:gd name="connsiteY24" fmla="*/ 5386090 h 5386090"/>
              <a:gd name="connsiteX25" fmla="*/ 1673923 w 5772150"/>
              <a:gd name="connsiteY25" fmla="*/ 5386090 h 5386090"/>
              <a:gd name="connsiteX26" fmla="*/ 1038987 w 5772150"/>
              <a:gd name="connsiteY26" fmla="*/ 5386090 h 5386090"/>
              <a:gd name="connsiteX27" fmla="*/ 0 w 5772150"/>
              <a:gd name="connsiteY27" fmla="*/ 5386090 h 5386090"/>
              <a:gd name="connsiteX28" fmla="*/ 0 w 5772150"/>
              <a:gd name="connsiteY28" fmla="*/ 4949218 h 5386090"/>
              <a:gd name="connsiteX29" fmla="*/ 0 w 5772150"/>
              <a:gd name="connsiteY29" fmla="*/ 4512347 h 5386090"/>
              <a:gd name="connsiteX30" fmla="*/ 0 w 5772150"/>
              <a:gd name="connsiteY30" fmla="*/ 4021614 h 5386090"/>
              <a:gd name="connsiteX31" fmla="*/ 0 w 5772150"/>
              <a:gd name="connsiteY31" fmla="*/ 3423159 h 5386090"/>
              <a:gd name="connsiteX32" fmla="*/ 0 w 5772150"/>
              <a:gd name="connsiteY32" fmla="*/ 2824705 h 5386090"/>
              <a:gd name="connsiteX33" fmla="*/ 0 w 5772150"/>
              <a:gd name="connsiteY33" fmla="*/ 2280111 h 5386090"/>
              <a:gd name="connsiteX34" fmla="*/ 0 w 5772150"/>
              <a:gd name="connsiteY34" fmla="*/ 1681657 h 5386090"/>
              <a:gd name="connsiteX35" fmla="*/ 0 w 5772150"/>
              <a:gd name="connsiteY35" fmla="*/ 1083203 h 5386090"/>
              <a:gd name="connsiteX36" fmla="*/ 0 w 5772150"/>
              <a:gd name="connsiteY36" fmla="*/ 538609 h 5386090"/>
              <a:gd name="connsiteX37" fmla="*/ 0 w 5772150"/>
              <a:gd name="connsiteY37" fmla="*/ 0 h 5386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5772150" h="5386090" fill="none" extrusionOk="0">
                <a:moveTo>
                  <a:pt x="0" y="0"/>
                </a:moveTo>
                <a:cubicBezTo>
                  <a:pt x="200548" y="-36076"/>
                  <a:pt x="264429" y="28286"/>
                  <a:pt x="519494" y="0"/>
                </a:cubicBezTo>
                <a:cubicBezTo>
                  <a:pt x="774559" y="-28286"/>
                  <a:pt x="972228" y="33138"/>
                  <a:pt x="1154430" y="0"/>
                </a:cubicBezTo>
                <a:cubicBezTo>
                  <a:pt x="1336632" y="-33138"/>
                  <a:pt x="1358624" y="34373"/>
                  <a:pt x="1558481" y="0"/>
                </a:cubicBezTo>
                <a:cubicBezTo>
                  <a:pt x="1758338" y="-34373"/>
                  <a:pt x="1883980" y="48933"/>
                  <a:pt x="2193417" y="0"/>
                </a:cubicBezTo>
                <a:cubicBezTo>
                  <a:pt x="2502854" y="-48933"/>
                  <a:pt x="2593665" y="67095"/>
                  <a:pt x="2886075" y="0"/>
                </a:cubicBezTo>
                <a:cubicBezTo>
                  <a:pt x="3178485" y="-67095"/>
                  <a:pt x="3367721" y="1304"/>
                  <a:pt x="3578733" y="0"/>
                </a:cubicBezTo>
                <a:cubicBezTo>
                  <a:pt x="3789745" y="-1304"/>
                  <a:pt x="4082544" y="54508"/>
                  <a:pt x="4271391" y="0"/>
                </a:cubicBezTo>
                <a:cubicBezTo>
                  <a:pt x="4460238" y="-54508"/>
                  <a:pt x="4606725" y="13966"/>
                  <a:pt x="4733163" y="0"/>
                </a:cubicBezTo>
                <a:cubicBezTo>
                  <a:pt x="4859601" y="-13966"/>
                  <a:pt x="5332834" y="27988"/>
                  <a:pt x="5772150" y="0"/>
                </a:cubicBezTo>
                <a:cubicBezTo>
                  <a:pt x="5809010" y="139577"/>
                  <a:pt x="5735979" y="286051"/>
                  <a:pt x="5772150" y="544594"/>
                </a:cubicBezTo>
                <a:cubicBezTo>
                  <a:pt x="5808321" y="803137"/>
                  <a:pt x="5741093" y="971744"/>
                  <a:pt x="5772150" y="1250770"/>
                </a:cubicBezTo>
                <a:cubicBezTo>
                  <a:pt x="5803207" y="1529796"/>
                  <a:pt x="5751072" y="1739693"/>
                  <a:pt x="5772150" y="1903085"/>
                </a:cubicBezTo>
                <a:cubicBezTo>
                  <a:pt x="5793228" y="2066478"/>
                  <a:pt x="5768638" y="2213277"/>
                  <a:pt x="5772150" y="2339957"/>
                </a:cubicBezTo>
                <a:cubicBezTo>
                  <a:pt x="5775662" y="2466637"/>
                  <a:pt x="5755347" y="2699587"/>
                  <a:pt x="5772150" y="2938411"/>
                </a:cubicBezTo>
                <a:cubicBezTo>
                  <a:pt x="5788953" y="3177235"/>
                  <a:pt x="5733358" y="3264413"/>
                  <a:pt x="5772150" y="3429144"/>
                </a:cubicBezTo>
                <a:cubicBezTo>
                  <a:pt x="5810942" y="3593875"/>
                  <a:pt x="5750789" y="3754034"/>
                  <a:pt x="5772150" y="3919877"/>
                </a:cubicBezTo>
                <a:cubicBezTo>
                  <a:pt x="5793511" y="4085720"/>
                  <a:pt x="5703091" y="4378313"/>
                  <a:pt x="5772150" y="4572192"/>
                </a:cubicBezTo>
                <a:cubicBezTo>
                  <a:pt x="5841209" y="4766072"/>
                  <a:pt x="5708551" y="5011403"/>
                  <a:pt x="5772150" y="5386090"/>
                </a:cubicBezTo>
                <a:cubicBezTo>
                  <a:pt x="5634754" y="5427221"/>
                  <a:pt x="5432441" y="5335353"/>
                  <a:pt x="5137214" y="5386090"/>
                </a:cubicBezTo>
                <a:cubicBezTo>
                  <a:pt x="4841987" y="5436827"/>
                  <a:pt x="4830888" y="5378339"/>
                  <a:pt x="4617720" y="5386090"/>
                </a:cubicBezTo>
                <a:cubicBezTo>
                  <a:pt x="4404552" y="5393841"/>
                  <a:pt x="4163174" y="5326260"/>
                  <a:pt x="4040505" y="5386090"/>
                </a:cubicBezTo>
                <a:cubicBezTo>
                  <a:pt x="3917836" y="5445920"/>
                  <a:pt x="3764874" y="5380971"/>
                  <a:pt x="3636454" y="5386090"/>
                </a:cubicBezTo>
                <a:cubicBezTo>
                  <a:pt x="3508034" y="5391209"/>
                  <a:pt x="3183718" y="5380167"/>
                  <a:pt x="2943797" y="5386090"/>
                </a:cubicBezTo>
                <a:cubicBezTo>
                  <a:pt x="2703876" y="5392013"/>
                  <a:pt x="2579604" y="5349671"/>
                  <a:pt x="2251138" y="5386090"/>
                </a:cubicBezTo>
                <a:cubicBezTo>
                  <a:pt x="1922672" y="5422509"/>
                  <a:pt x="1908995" y="5366444"/>
                  <a:pt x="1673923" y="5386090"/>
                </a:cubicBezTo>
                <a:cubicBezTo>
                  <a:pt x="1438852" y="5405736"/>
                  <a:pt x="1355162" y="5377957"/>
                  <a:pt x="1038987" y="5386090"/>
                </a:cubicBezTo>
                <a:cubicBezTo>
                  <a:pt x="722812" y="5394223"/>
                  <a:pt x="322545" y="5308269"/>
                  <a:pt x="0" y="5386090"/>
                </a:cubicBezTo>
                <a:cubicBezTo>
                  <a:pt x="-38755" y="5244802"/>
                  <a:pt x="10603" y="5064288"/>
                  <a:pt x="0" y="4949218"/>
                </a:cubicBezTo>
                <a:cubicBezTo>
                  <a:pt x="-10603" y="4834148"/>
                  <a:pt x="49046" y="4650873"/>
                  <a:pt x="0" y="4512347"/>
                </a:cubicBezTo>
                <a:cubicBezTo>
                  <a:pt x="-49046" y="4373821"/>
                  <a:pt x="27829" y="4238853"/>
                  <a:pt x="0" y="4021614"/>
                </a:cubicBezTo>
                <a:cubicBezTo>
                  <a:pt x="-27829" y="3804375"/>
                  <a:pt x="63444" y="3701173"/>
                  <a:pt x="0" y="3423159"/>
                </a:cubicBezTo>
                <a:cubicBezTo>
                  <a:pt x="-63444" y="3145146"/>
                  <a:pt x="49688" y="3025259"/>
                  <a:pt x="0" y="2824705"/>
                </a:cubicBezTo>
                <a:cubicBezTo>
                  <a:pt x="-49688" y="2624151"/>
                  <a:pt x="15444" y="2446431"/>
                  <a:pt x="0" y="2280111"/>
                </a:cubicBezTo>
                <a:cubicBezTo>
                  <a:pt x="-15444" y="2113791"/>
                  <a:pt x="39579" y="1836749"/>
                  <a:pt x="0" y="1681657"/>
                </a:cubicBezTo>
                <a:cubicBezTo>
                  <a:pt x="-39579" y="1526565"/>
                  <a:pt x="21095" y="1371997"/>
                  <a:pt x="0" y="1083203"/>
                </a:cubicBezTo>
                <a:cubicBezTo>
                  <a:pt x="-21095" y="794409"/>
                  <a:pt x="53345" y="806774"/>
                  <a:pt x="0" y="538609"/>
                </a:cubicBezTo>
                <a:cubicBezTo>
                  <a:pt x="-53345" y="270444"/>
                  <a:pt x="59312" y="153549"/>
                  <a:pt x="0" y="0"/>
                </a:cubicBezTo>
                <a:close/>
              </a:path>
              <a:path w="5772150" h="5386090" stroke="0" extrusionOk="0">
                <a:moveTo>
                  <a:pt x="0" y="0"/>
                </a:moveTo>
                <a:cubicBezTo>
                  <a:pt x="219275" y="-13463"/>
                  <a:pt x="356192" y="25835"/>
                  <a:pt x="692658" y="0"/>
                </a:cubicBezTo>
                <a:cubicBezTo>
                  <a:pt x="1029124" y="-25835"/>
                  <a:pt x="1062846" y="58802"/>
                  <a:pt x="1385316" y="0"/>
                </a:cubicBezTo>
                <a:cubicBezTo>
                  <a:pt x="1707786" y="-58802"/>
                  <a:pt x="1728090" y="5319"/>
                  <a:pt x="2020253" y="0"/>
                </a:cubicBezTo>
                <a:cubicBezTo>
                  <a:pt x="2312416" y="-5319"/>
                  <a:pt x="2305270" y="7264"/>
                  <a:pt x="2424303" y="0"/>
                </a:cubicBezTo>
                <a:cubicBezTo>
                  <a:pt x="2543336" y="-7264"/>
                  <a:pt x="2732166" y="15385"/>
                  <a:pt x="3001518" y="0"/>
                </a:cubicBezTo>
                <a:cubicBezTo>
                  <a:pt x="3270871" y="-15385"/>
                  <a:pt x="3229659" y="12403"/>
                  <a:pt x="3405569" y="0"/>
                </a:cubicBezTo>
                <a:cubicBezTo>
                  <a:pt x="3581479" y="-12403"/>
                  <a:pt x="3635035" y="22885"/>
                  <a:pt x="3809619" y="0"/>
                </a:cubicBezTo>
                <a:cubicBezTo>
                  <a:pt x="3984203" y="-22885"/>
                  <a:pt x="4168527" y="23553"/>
                  <a:pt x="4386834" y="0"/>
                </a:cubicBezTo>
                <a:cubicBezTo>
                  <a:pt x="4605141" y="-23553"/>
                  <a:pt x="4781559" y="49135"/>
                  <a:pt x="5021771" y="0"/>
                </a:cubicBezTo>
                <a:cubicBezTo>
                  <a:pt x="5261983" y="-49135"/>
                  <a:pt x="5471058" y="42189"/>
                  <a:pt x="5772150" y="0"/>
                </a:cubicBezTo>
                <a:cubicBezTo>
                  <a:pt x="5788729" y="284547"/>
                  <a:pt x="5703590" y="438546"/>
                  <a:pt x="5772150" y="598454"/>
                </a:cubicBezTo>
                <a:cubicBezTo>
                  <a:pt x="5840710" y="758362"/>
                  <a:pt x="5717519" y="878349"/>
                  <a:pt x="5772150" y="1089187"/>
                </a:cubicBezTo>
                <a:cubicBezTo>
                  <a:pt x="5826781" y="1300025"/>
                  <a:pt x="5771995" y="1581233"/>
                  <a:pt x="5772150" y="1741502"/>
                </a:cubicBezTo>
                <a:cubicBezTo>
                  <a:pt x="5772305" y="1901771"/>
                  <a:pt x="5757431" y="2198025"/>
                  <a:pt x="5772150" y="2447679"/>
                </a:cubicBezTo>
                <a:cubicBezTo>
                  <a:pt x="5786869" y="2697333"/>
                  <a:pt x="5736761" y="2697850"/>
                  <a:pt x="5772150" y="2884550"/>
                </a:cubicBezTo>
                <a:cubicBezTo>
                  <a:pt x="5807539" y="3071250"/>
                  <a:pt x="5766357" y="3355889"/>
                  <a:pt x="5772150" y="3483005"/>
                </a:cubicBezTo>
                <a:cubicBezTo>
                  <a:pt x="5777943" y="3610122"/>
                  <a:pt x="5771772" y="3958758"/>
                  <a:pt x="5772150" y="4081459"/>
                </a:cubicBezTo>
                <a:cubicBezTo>
                  <a:pt x="5772528" y="4204160"/>
                  <a:pt x="5743160" y="4423580"/>
                  <a:pt x="5772150" y="4733775"/>
                </a:cubicBezTo>
                <a:cubicBezTo>
                  <a:pt x="5801140" y="5043970"/>
                  <a:pt x="5772020" y="5147540"/>
                  <a:pt x="5772150" y="5386090"/>
                </a:cubicBezTo>
                <a:cubicBezTo>
                  <a:pt x="5660534" y="5431225"/>
                  <a:pt x="5474963" y="5379723"/>
                  <a:pt x="5368100" y="5386090"/>
                </a:cubicBezTo>
                <a:cubicBezTo>
                  <a:pt x="5261237" y="5392457"/>
                  <a:pt x="5008214" y="5316133"/>
                  <a:pt x="4675442" y="5386090"/>
                </a:cubicBezTo>
                <a:cubicBezTo>
                  <a:pt x="4342670" y="5456047"/>
                  <a:pt x="4442639" y="5374507"/>
                  <a:pt x="4213670" y="5386090"/>
                </a:cubicBezTo>
                <a:cubicBezTo>
                  <a:pt x="3984701" y="5397673"/>
                  <a:pt x="3903864" y="5374767"/>
                  <a:pt x="3809619" y="5386090"/>
                </a:cubicBezTo>
                <a:cubicBezTo>
                  <a:pt x="3715374" y="5397413"/>
                  <a:pt x="3401730" y="5356761"/>
                  <a:pt x="3174683" y="5386090"/>
                </a:cubicBezTo>
                <a:cubicBezTo>
                  <a:pt x="2947636" y="5415419"/>
                  <a:pt x="2921016" y="5360855"/>
                  <a:pt x="2770632" y="5386090"/>
                </a:cubicBezTo>
                <a:cubicBezTo>
                  <a:pt x="2620248" y="5411325"/>
                  <a:pt x="2323641" y="5365306"/>
                  <a:pt x="2077974" y="5386090"/>
                </a:cubicBezTo>
                <a:cubicBezTo>
                  <a:pt x="1832307" y="5406874"/>
                  <a:pt x="1823547" y="5360067"/>
                  <a:pt x="1616202" y="5386090"/>
                </a:cubicBezTo>
                <a:cubicBezTo>
                  <a:pt x="1408857" y="5412113"/>
                  <a:pt x="1241207" y="5340325"/>
                  <a:pt x="1096709" y="5386090"/>
                </a:cubicBezTo>
                <a:cubicBezTo>
                  <a:pt x="952211" y="5431855"/>
                  <a:pt x="844063" y="5372731"/>
                  <a:pt x="692658" y="5386090"/>
                </a:cubicBezTo>
                <a:cubicBezTo>
                  <a:pt x="541253" y="5399449"/>
                  <a:pt x="316416" y="5329093"/>
                  <a:pt x="0" y="5386090"/>
                </a:cubicBezTo>
                <a:cubicBezTo>
                  <a:pt x="-10820" y="5269590"/>
                  <a:pt x="51460" y="5010962"/>
                  <a:pt x="0" y="4895357"/>
                </a:cubicBezTo>
                <a:cubicBezTo>
                  <a:pt x="-51460" y="4779752"/>
                  <a:pt x="47394" y="4469695"/>
                  <a:pt x="0" y="4189181"/>
                </a:cubicBezTo>
                <a:cubicBezTo>
                  <a:pt x="-47394" y="3908667"/>
                  <a:pt x="31512" y="3643409"/>
                  <a:pt x="0" y="3483005"/>
                </a:cubicBezTo>
                <a:cubicBezTo>
                  <a:pt x="-31512" y="3322601"/>
                  <a:pt x="63629" y="3038181"/>
                  <a:pt x="0" y="2884550"/>
                </a:cubicBezTo>
                <a:cubicBezTo>
                  <a:pt x="-63629" y="2730920"/>
                  <a:pt x="32950" y="2446730"/>
                  <a:pt x="0" y="2178374"/>
                </a:cubicBezTo>
                <a:cubicBezTo>
                  <a:pt x="-32950" y="1910018"/>
                  <a:pt x="47273" y="1683870"/>
                  <a:pt x="0" y="1472198"/>
                </a:cubicBezTo>
                <a:cubicBezTo>
                  <a:pt x="-47273" y="1260526"/>
                  <a:pt x="37935" y="1097100"/>
                  <a:pt x="0" y="981465"/>
                </a:cubicBezTo>
                <a:cubicBezTo>
                  <a:pt x="-37935" y="865830"/>
                  <a:pt x="98776" y="254955"/>
                  <a:pt x="0" y="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extLst>
              <a:ext uri="{C807C97D-BFC1-408E-A445-0C87EB9F89A2}">
                <ask:lineSketchStyleProps xmlns:ask="http://schemas.microsoft.com/office/drawing/2018/sketchyshapes" sd="3823374539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000000"/>
                </a:solidFill>
                <a:latin typeface="Calibri" panose="020F0502020204030204" pitchFamily="34" charset="0"/>
              </a:rPr>
              <a:t>Parameters Configuration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embedding_dim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word embedding dimension (</a:t>
            </a:r>
            <a:r>
              <a:rPr lang="en-US" sz="2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embedding_dim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50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nof_filter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number of filters (</a:t>
            </a:r>
            <a:r>
              <a:rPr lang="en-US" sz="2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nof_filter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25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the batch size of the data that will be fed to the model while training (</a:t>
            </a:r>
            <a:r>
              <a:rPr lang="en-US" sz="2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64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kernel_size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(width)*(height) of the filter mask (</a:t>
            </a:r>
            <a:r>
              <a:rPr lang="en-US" sz="2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kernel_size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3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hidden_dim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the number of neurons in the hidden layer (</a:t>
            </a:r>
            <a:r>
              <a:rPr lang="en-US" sz="2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hidden_dim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50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los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“</a:t>
            </a:r>
            <a:r>
              <a:rPr lang="en-US" sz="2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categorical_crossentropy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”, since we have categorical output values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optimizer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“</a:t>
            </a:r>
            <a:r>
              <a:rPr lang="en-US" sz="2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adam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”, Adam optimization is a stochastic gradient descent method that is based on adaptive estimation of first-order and second-order moments.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metric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“accuracy” </a:t>
            </a:r>
          </a:p>
        </p:txBody>
      </p:sp>
    </p:spTree>
    <p:extLst>
      <p:ext uri="{BB962C8B-B14F-4D97-AF65-F5344CB8AC3E}">
        <p14:creationId xmlns:p14="http://schemas.microsoft.com/office/powerpoint/2010/main" val="23639628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87CEC29-68C8-489A-BB93-3E09B35D2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564" y="-330067"/>
            <a:ext cx="5788014" cy="668859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E76BA83-9556-452D-AFF2-276D70F75491}"/>
              </a:ext>
            </a:extLst>
          </p:cNvPr>
          <p:cNvSpPr txBox="1"/>
          <p:nvPr/>
        </p:nvSpPr>
        <p:spPr>
          <a:xfrm>
            <a:off x="6516698" y="207502"/>
            <a:ext cx="5702208" cy="674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>
                <a:latin typeface="Calibri" panose="020F0502020204030204" pitchFamily="34" charset="0"/>
              </a:rPr>
              <a:t>Several layers of convolutions with nonlinear functions like </a:t>
            </a:r>
            <a:r>
              <a:rPr lang="en-US" sz="2400" dirty="0" err="1">
                <a:latin typeface="Calibri" panose="020F0502020204030204" pitchFamily="34" charset="0"/>
              </a:rPr>
              <a:t>ReLU</a:t>
            </a:r>
            <a:r>
              <a:rPr lang="en-US" sz="2400" dirty="0">
                <a:latin typeface="Calibri" panose="020F0502020204030204" pitchFamily="34" charset="0"/>
              </a:rPr>
              <a:t> applied to the results.</a:t>
            </a:r>
          </a:p>
          <a:p>
            <a:endParaRPr lang="en-US" sz="2400" dirty="0">
              <a:latin typeface="Calibri" panose="020F050202020403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>
                <a:latin typeface="Calibri" panose="020F0502020204030204" pitchFamily="34" charset="0"/>
              </a:rPr>
              <a:t>We use convolutions over the input layer to compute the output. A</a:t>
            </a:r>
            <a:r>
              <a:rPr lang="en-US" sz="2400" i="0" u="none" strike="noStrike" baseline="0" dirty="0">
                <a:latin typeface="Calibri" panose="020F0502020204030204" pitchFamily="34" charset="0"/>
              </a:rPr>
              <a:t>n input sentence broken up into word embeddings</a:t>
            </a:r>
            <a:r>
              <a:rPr lang="en-US" sz="2400" dirty="0">
                <a:latin typeface="Calibri" panose="020F0502020204030204" pitchFamily="34" charset="0"/>
              </a:rPr>
              <a:t> (embedding lookup). </a:t>
            </a:r>
            <a:r>
              <a:rPr lang="en-US" sz="2400" i="0" u="none" strike="noStrike" baseline="0" dirty="0">
                <a:latin typeface="Calibri" panose="020F0502020204030204" pitchFamily="34" charset="0"/>
              </a:rPr>
              <a:t>Words are broken up into features and are fed into a convolutional layer. </a:t>
            </a:r>
          </a:p>
          <a:p>
            <a:endParaRPr lang="en-US" sz="2400" i="0" u="none" strike="noStrike" baseline="0" dirty="0">
              <a:latin typeface="Calibri" panose="020F050202020403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i="0" u="none" strike="noStrike" baseline="0" dirty="0">
                <a:latin typeface="Calibri" panose="020F0502020204030204" pitchFamily="34" charset="0"/>
              </a:rPr>
              <a:t>The results of the convolution are “pooled” to a representative number. This number is fed to a fully connected neural structure, which makes a classification decision based on the weights assigned to each feature within the text. </a:t>
            </a:r>
          </a:p>
        </p:txBody>
      </p:sp>
    </p:spTree>
    <p:extLst>
      <p:ext uri="{BB962C8B-B14F-4D97-AF65-F5344CB8AC3E}">
        <p14:creationId xmlns:p14="http://schemas.microsoft.com/office/powerpoint/2010/main" val="20778262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56CDD6A1-A101-4D67-BE22-817A946DB832}"/>
              </a:ext>
            </a:extLst>
          </p:cNvPr>
          <p:cNvSpPr txBox="1"/>
          <p:nvPr/>
        </p:nvSpPr>
        <p:spPr>
          <a:xfrm>
            <a:off x="405033" y="916907"/>
            <a:ext cx="6785440" cy="33409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nnections between nodes form a directed graph along a temporal sequence. </a:t>
            </a: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he output from previous step is fed as input to the current step. </a:t>
            </a: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ain and most important feature of RNN is Hidden state (Hidden Layer), which remembers information about a sequence.</a:t>
            </a: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ll the inputs are related to each other = &gt;</a:t>
            </a:r>
            <a:r>
              <a:rPr lang="en-US" sz="18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RNN </a:t>
            </a: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odel sequence of data so that each sample can be assumed to be dependent on previous ones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C4D78B-D693-41D7-BCF7-7116B68B1392}"/>
              </a:ext>
            </a:extLst>
          </p:cNvPr>
          <p:cNvSpPr txBox="1"/>
          <p:nvPr/>
        </p:nvSpPr>
        <p:spPr>
          <a:xfrm>
            <a:off x="604911" y="212190"/>
            <a:ext cx="8420100" cy="9694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900" b="0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Recurrent Neural Network (RNN) </a:t>
            </a:r>
          </a:p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DDD0B40-CB6D-4280-8541-CC5D7496B3B6}"/>
              </a:ext>
            </a:extLst>
          </p:cNvPr>
          <p:cNvSpPr txBox="1"/>
          <p:nvPr/>
        </p:nvSpPr>
        <p:spPr>
          <a:xfrm>
            <a:off x="7513321" y="1110652"/>
            <a:ext cx="4539174" cy="5693866"/>
          </a:xfrm>
          <a:custGeom>
            <a:avLst/>
            <a:gdLst>
              <a:gd name="connsiteX0" fmla="*/ 0 w 4539174"/>
              <a:gd name="connsiteY0" fmla="*/ 0 h 5693866"/>
              <a:gd name="connsiteX1" fmla="*/ 658180 w 4539174"/>
              <a:gd name="connsiteY1" fmla="*/ 0 h 5693866"/>
              <a:gd name="connsiteX2" fmla="*/ 1180185 w 4539174"/>
              <a:gd name="connsiteY2" fmla="*/ 0 h 5693866"/>
              <a:gd name="connsiteX3" fmla="*/ 1747582 w 4539174"/>
              <a:gd name="connsiteY3" fmla="*/ 0 h 5693866"/>
              <a:gd name="connsiteX4" fmla="*/ 2314979 w 4539174"/>
              <a:gd name="connsiteY4" fmla="*/ 0 h 5693866"/>
              <a:gd name="connsiteX5" fmla="*/ 2927767 w 4539174"/>
              <a:gd name="connsiteY5" fmla="*/ 0 h 5693866"/>
              <a:gd name="connsiteX6" fmla="*/ 3358989 w 4539174"/>
              <a:gd name="connsiteY6" fmla="*/ 0 h 5693866"/>
              <a:gd name="connsiteX7" fmla="*/ 3971777 w 4539174"/>
              <a:gd name="connsiteY7" fmla="*/ 0 h 5693866"/>
              <a:gd name="connsiteX8" fmla="*/ 4539174 w 4539174"/>
              <a:gd name="connsiteY8" fmla="*/ 0 h 5693866"/>
              <a:gd name="connsiteX9" fmla="*/ 4539174 w 4539174"/>
              <a:gd name="connsiteY9" fmla="*/ 683264 h 5693866"/>
              <a:gd name="connsiteX10" fmla="*/ 4539174 w 4539174"/>
              <a:gd name="connsiteY10" fmla="*/ 1309589 h 5693866"/>
              <a:gd name="connsiteX11" fmla="*/ 4539174 w 4539174"/>
              <a:gd name="connsiteY11" fmla="*/ 1708160 h 5693866"/>
              <a:gd name="connsiteX12" fmla="*/ 4539174 w 4539174"/>
              <a:gd name="connsiteY12" fmla="*/ 2334485 h 5693866"/>
              <a:gd name="connsiteX13" fmla="*/ 4539174 w 4539174"/>
              <a:gd name="connsiteY13" fmla="*/ 2846933 h 5693866"/>
              <a:gd name="connsiteX14" fmla="*/ 4539174 w 4539174"/>
              <a:gd name="connsiteY14" fmla="*/ 3530197 h 5693866"/>
              <a:gd name="connsiteX15" fmla="*/ 4539174 w 4539174"/>
              <a:gd name="connsiteY15" fmla="*/ 4156522 h 5693866"/>
              <a:gd name="connsiteX16" fmla="*/ 4539174 w 4539174"/>
              <a:gd name="connsiteY16" fmla="*/ 4555093 h 5693866"/>
              <a:gd name="connsiteX17" fmla="*/ 4539174 w 4539174"/>
              <a:gd name="connsiteY17" fmla="*/ 5124479 h 5693866"/>
              <a:gd name="connsiteX18" fmla="*/ 4539174 w 4539174"/>
              <a:gd name="connsiteY18" fmla="*/ 5693866 h 5693866"/>
              <a:gd name="connsiteX19" fmla="*/ 4062561 w 4539174"/>
              <a:gd name="connsiteY19" fmla="*/ 5693866 h 5693866"/>
              <a:gd name="connsiteX20" fmla="*/ 3631339 w 4539174"/>
              <a:gd name="connsiteY20" fmla="*/ 5693866 h 5693866"/>
              <a:gd name="connsiteX21" fmla="*/ 3200118 w 4539174"/>
              <a:gd name="connsiteY21" fmla="*/ 5693866 h 5693866"/>
              <a:gd name="connsiteX22" fmla="*/ 2723504 w 4539174"/>
              <a:gd name="connsiteY22" fmla="*/ 5693866 h 5693866"/>
              <a:gd name="connsiteX23" fmla="*/ 2201499 w 4539174"/>
              <a:gd name="connsiteY23" fmla="*/ 5693866 h 5693866"/>
              <a:gd name="connsiteX24" fmla="*/ 1634103 w 4539174"/>
              <a:gd name="connsiteY24" fmla="*/ 5693866 h 5693866"/>
              <a:gd name="connsiteX25" fmla="*/ 1202881 w 4539174"/>
              <a:gd name="connsiteY25" fmla="*/ 5693866 h 5693866"/>
              <a:gd name="connsiteX26" fmla="*/ 544701 w 4539174"/>
              <a:gd name="connsiteY26" fmla="*/ 5693866 h 5693866"/>
              <a:gd name="connsiteX27" fmla="*/ 0 w 4539174"/>
              <a:gd name="connsiteY27" fmla="*/ 5693866 h 5693866"/>
              <a:gd name="connsiteX28" fmla="*/ 0 w 4539174"/>
              <a:gd name="connsiteY28" fmla="*/ 5124479 h 5693866"/>
              <a:gd name="connsiteX29" fmla="*/ 0 w 4539174"/>
              <a:gd name="connsiteY29" fmla="*/ 4441215 h 5693866"/>
              <a:gd name="connsiteX30" fmla="*/ 0 w 4539174"/>
              <a:gd name="connsiteY30" fmla="*/ 4042645 h 5693866"/>
              <a:gd name="connsiteX31" fmla="*/ 0 w 4539174"/>
              <a:gd name="connsiteY31" fmla="*/ 3587136 h 5693866"/>
              <a:gd name="connsiteX32" fmla="*/ 0 w 4539174"/>
              <a:gd name="connsiteY32" fmla="*/ 3188565 h 5693866"/>
              <a:gd name="connsiteX33" fmla="*/ 0 w 4539174"/>
              <a:gd name="connsiteY33" fmla="*/ 2733056 h 5693866"/>
              <a:gd name="connsiteX34" fmla="*/ 0 w 4539174"/>
              <a:gd name="connsiteY34" fmla="*/ 2163669 h 5693866"/>
              <a:gd name="connsiteX35" fmla="*/ 0 w 4539174"/>
              <a:gd name="connsiteY35" fmla="*/ 1594282 h 5693866"/>
              <a:gd name="connsiteX36" fmla="*/ 0 w 4539174"/>
              <a:gd name="connsiteY36" fmla="*/ 1081835 h 5693866"/>
              <a:gd name="connsiteX37" fmla="*/ 0 w 4539174"/>
              <a:gd name="connsiteY37" fmla="*/ 512448 h 5693866"/>
              <a:gd name="connsiteX38" fmla="*/ 0 w 4539174"/>
              <a:gd name="connsiteY38" fmla="*/ 0 h 5693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4539174" h="5693866" fill="none" extrusionOk="0">
                <a:moveTo>
                  <a:pt x="0" y="0"/>
                </a:moveTo>
                <a:cubicBezTo>
                  <a:pt x="263035" y="-54723"/>
                  <a:pt x="458870" y="13043"/>
                  <a:pt x="658180" y="0"/>
                </a:cubicBezTo>
                <a:cubicBezTo>
                  <a:pt x="857490" y="-13043"/>
                  <a:pt x="995779" y="19708"/>
                  <a:pt x="1180185" y="0"/>
                </a:cubicBezTo>
                <a:cubicBezTo>
                  <a:pt x="1364592" y="-19708"/>
                  <a:pt x="1607357" y="585"/>
                  <a:pt x="1747582" y="0"/>
                </a:cubicBezTo>
                <a:cubicBezTo>
                  <a:pt x="1887807" y="-585"/>
                  <a:pt x="2056350" y="58180"/>
                  <a:pt x="2314979" y="0"/>
                </a:cubicBezTo>
                <a:cubicBezTo>
                  <a:pt x="2573608" y="-58180"/>
                  <a:pt x="2670245" y="43509"/>
                  <a:pt x="2927767" y="0"/>
                </a:cubicBezTo>
                <a:cubicBezTo>
                  <a:pt x="3185289" y="-43509"/>
                  <a:pt x="3149353" y="32416"/>
                  <a:pt x="3358989" y="0"/>
                </a:cubicBezTo>
                <a:cubicBezTo>
                  <a:pt x="3568625" y="-32416"/>
                  <a:pt x="3719720" y="9200"/>
                  <a:pt x="3971777" y="0"/>
                </a:cubicBezTo>
                <a:cubicBezTo>
                  <a:pt x="4223834" y="-9200"/>
                  <a:pt x="4291427" y="60457"/>
                  <a:pt x="4539174" y="0"/>
                </a:cubicBezTo>
                <a:cubicBezTo>
                  <a:pt x="4594041" y="283874"/>
                  <a:pt x="4458861" y="544377"/>
                  <a:pt x="4539174" y="683264"/>
                </a:cubicBezTo>
                <a:cubicBezTo>
                  <a:pt x="4619487" y="822151"/>
                  <a:pt x="4468845" y="1099167"/>
                  <a:pt x="4539174" y="1309589"/>
                </a:cubicBezTo>
                <a:cubicBezTo>
                  <a:pt x="4609503" y="1520011"/>
                  <a:pt x="4535555" y="1621119"/>
                  <a:pt x="4539174" y="1708160"/>
                </a:cubicBezTo>
                <a:cubicBezTo>
                  <a:pt x="4542793" y="1795201"/>
                  <a:pt x="4512049" y="2029541"/>
                  <a:pt x="4539174" y="2334485"/>
                </a:cubicBezTo>
                <a:cubicBezTo>
                  <a:pt x="4566299" y="2639430"/>
                  <a:pt x="4509509" y="2598233"/>
                  <a:pt x="4539174" y="2846933"/>
                </a:cubicBezTo>
                <a:cubicBezTo>
                  <a:pt x="4568839" y="3095633"/>
                  <a:pt x="4482036" y="3296006"/>
                  <a:pt x="4539174" y="3530197"/>
                </a:cubicBezTo>
                <a:cubicBezTo>
                  <a:pt x="4596312" y="3764388"/>
                  <a:pt x="4474766" y="4014945"/>
                  <a:pt x="4539174" y="4156522"/>
                </a:cubicBezTo>
                <a:cubicBezTo>
                  <a:pt x="4603582" y="4298099"/>
                  <a:pt x="4516151" y="4360277"/>
                  <a:pt x="4539174" y="4555093"/>
                </a:cubicBezTo>
                <a:cubicBezTo>
                  <a:pt x="4562197" y="4749909"/>
                  <a:pt x="4503527" y="4840783"/>
                  <a:pt x="4539174" y="5124479"/>
                </a:cubicBezTo>
                <a:cubicBezTo>
                  <a:pt x="4574821" y="5408175"/>
                  <a:pt x="4508887" y="5562694"/>
                  <a:pt x="4539174" y="5693866"/>
                </a:cubicBezTo>
                <a:cubicBezTo>
                  <a:pt x="4330531" y="5716132"/>
                  <a:pt x="4268141" y="5657995"/>
                  <a:pt x="4062561" y="5693866"/>
                </a:cubicBezTo>
                <a:cubicBezTo>
                  <a:pt x="3856981" y="5729737"/>
                  <a:pt x="3844285" y="5667418"/>
                  <a:pt x="3631339" y="5693866"/>
                </a:cubicBezTo>
                <a:cubicBezTo>
                  <a:pt x="3418393" y="5720314"/>
                  <a:pt x="3408113" y="5663229"/>
                  <a:pt x="3200118" y="5693866"/>
                </a:cubicBezTo>
                <a:cubicBezTo>
                  <a:pt x="2992123" y="5724503"/>
                  <a:pt x="2921920" y="5645287"/>
                  <a:pt x="2723504" y="5693866"/>
                </a:cubicBezTo>
                <a:cubicBezTo>
                  <a:pt x="2525088" y="5742445"/>
                  <a:pt x="2360435" y="5664927"/>
                  <a:pt x="2201499" y="5693866"/>
                </a:cubicBezTo>
                <a:cubicBezTo>
                  <a:pt x="2042563" y="5722805"/>
                  <a:pt x="1751523" y="5685270"/>
                  <a:pt x="1634103" y="5693866"/>
                </a:cubicBezTo>
                <a:cubicBezTo>
                  <a:pt x="1516683" y="5702462"/>
                  <a:pt x="1405090" y="5675924"/>
                  <a:pt x="1202881" y="5693866"/>
                </a:cubicBezTo>
                <a:cubicBezTo>
                  <a:pt x="1000672" y="5711808"/>
                  <a:pt x="822462" y="5624549"/>
                  <a:pt x="544701" y="5693866"/>
                </a:cubicBezTo>
                <a:cubicBezTo>
                  <a:pt x="266940" y="5763183"/>
                  <a:pt x="173920" y="5681566"/>
                  <a:pt x="0" y="5693866"/>
                </a:cubicBezTo>
                <a:cubicBezTo>
                  <a:pt x="-3015" y="5521349"/>
                  <a:pt x="4098" y="5261952"/>
                  <a:pt x="0" y="5124479"/>
                </a:cubicBezTo>
                <a:cubicBezTo>
                  <a:pt x="-4098" y="4987006"/>
                  <a:pt x="61625" y="4716471"/>
                  <a:pt x="0" y="4441215"/>
                </a:cubicBezTo>
                <a:cubicBezTo>
                  <a:pt x="-61625" y="4165959"/>
                  <a:pt x="23150" y="4208114"/>
                  <a:pt x="0" y="4042645"/>
                </a:cubicBezTo>
                <a:cubicBezTo>
                  <a:pt x="-23150" y="3877176"/>
                  <a:pt x="27578" y="3766691"/>
                  <a:pt x="0" y="3587136"/>
                </a:cubicBezTo>
                <a:cubicBezTo>
                  <a:pt x="-27578" y="3407581"/>
                  <a:pt x="34612" y="3370897"/>
                  <a:pt x="0" y="3188565"/>
                </a:cubicBezTo>
                <a:cubicBezTo>
                  <a:pt x="-34612" y="3006233"/>
                  <a:pt x="31815" y="2843036"/>
                  <a:pt x="0" y="2733056"/>
                </a:cubicBezTo>
                <a:cubicBezTo>
                  <a:pt x="-31815" y="2623076"/>
                  <a:pt x="10390" y="2404007"/>
                  <a:pt x="0" y="2163669"/>
                </a:cubicBezTo>
                <a:cubicBezTo>
                  <a:pt x="-10390" y="1923331"/>
                  <a:pt x="67785" y="1719860"/>
                  <a:pt x="0" y="1594282"/>
                </a:cubicBezTo>
                <a:cubicBezTo>
                  <a:pt x="-67785" y="1468704"/>
                  <a:pt x="58534" y="1315535"/>
                  <a:pt x="0" y="1081835"/>
                </a:cubicBezTo>
                <a:cubicBezTo>
                  <a:pt x="-58534" y="848135"/>
                  <a:pt x="8034" y="649835"/>
                  <a:pt x="0" y="512448"/>
                </a:cubicBezTo>
                <a:cubicBezTo>
                  <a:pt x="-8034" y="375061"/>
                  <a:pt x="49956" y="120779"/>
                  <a:pt x="0" y="0"/>
                </a:cubicBezTo>
                <a:close/>
              </a:path>
              <a:path w="4539174" h="5693866" stroke="0" extrusionOk="0">
                <a:moveTo>
                  <a:pt x="0" y="0"/>
                </a:moveTo>
                <a:cubicBezTo>
                  <a:pt x="233502" y="-33808"/>
                  <a:pt x="461415" y="73666"/>
                  <a:pt x="658180" y="0"/>
                </a:cubicBezTo>
                <a:cubicBezTo>
                  <a:pt x="854945" y="-73666"/>
                  <a:pt x="1059689" y="18322"/>
                  <a:pt x="1316360" y="0"/>
                </a:cubicBezTo>
                <a:cubicBezTo>
                  <a:pt x="1573031" y="-18322"/>
                  <a:pt x="1694547" y="63098"/>
                  <a:pt x="1929149" y="0"/>
                </a:cubicBezTo>
                <a:cubicBezTo>
                  <a:pt x="2163751" y="-63098"/>
                  <a:pt x="2191280" y="49346"/>
                  <a:pt x="2360370" y="0"/>
                </a:cubicBezTo>
                <a:cubicBezTo>
                  <a:pt x="2529460" y="-49346"/>
                  <a:pt x="2699579" y="26330"/>
                  <a:pt x="2927767" y="0"/>
                </a:cubicBezTo>
                <a:cubicBezTo>
                  <a:pt x="3155955" y="-26330"/>
                  <a:pt x="3198242" y="3690"/>
                  <a:pt x="3358989" y="0"/>
                </a:cubicBezTo>
                <a:cubicBezTo>
                  <a:pt x="3519736" y="-3690"/>
                  <a:pt x="3686466" y="49363"/>
                  <a:pt x="3790210" y="0"/>
                </a:cubicBezTo>
                <a:cubicBezTo>
                  <a:pt x="3893954" y="-49363"/>
                  <a:pt x="4229687" y="19278"/>
                  <a:pt x="4539174" y="0"/>
                </a:cubicBezTo>
                <a:cubicBezTo>
                  <a:pt x="4556858" y="279548"/>
                  <a:pt x="4514447" y="336328"/>
                  <a:pt x="4539174" y="626325"/>
                </a:cubicBezTo>
                <a:cubicBezTo>
                  <a:pt x="4563901" y="916323"/>
                  <a:pt x="4508068" y="1065393"/>
                  <a:pt x="4539174" y="1195712"/>
                </a:cubicBezTo>
                <a:cubicBezTo>
                  <a:pt x="4570280" y="1326031"/>
                  <a:pt x="4496621" y="1561182"/>
                  <a:pt x="4539174" y="1708160"/>
                </a:cubicBezTo>
                <a:cubicBezTo>
                  <a:pt x="4581727" y="1855138"/>
                  <a:pt x="4504414" y="1982166"/>
                  <a:pt x="4539174" y="2163669"/>
                </a:cubicBezTo>
                <a:cubicBezTo>
                  <a:pt x="4573934" y="2345172"/>
                  <a:pt x="4529598" y="2586980"/>
                  <a:pt x="4539174" y="2789994"/>
                </a:cubicBezTo>
                <a:cubicBezTo>
                  <a:pt x="4548750" y="2993009"/>
                  <a:pt x="4499293" y="3255961"/>
                  <a:pt x="4539174" y="3473258"/>
                </a:cubicBezTo>
                <a:cubicBezTo>
                  <a:pt x="4579055" y="3690555"/>
                  <a:pt x="4533834" y="3676095"/>
                  <a:pt x="4539174" y="3871829"/>
                </a:cubicBezTo>
                <a:cubicBezTo>
                  <a:pt x="4544514" y="4067563"/>
                  <a:pt x="4490700" y="4278818"/>
                  <a:pt x="4539174" y="4441215"/>
                </a:cubicBezTo>
                <a:cubicBezTo>
                  <a:pt x="4587648" y="4603612"/>
                  <a:pt x="4521267" y="4873528"/>
                  <a:pt x="4539174" y="5010602"/>
                </a:cubicBezTo>
                <a:cubicBezTo>
                  <a:pt x="4557081" y="5147676"/>
                  <a:pt x="4521142" y="5530372"/>
                  <a:pt x="4539174" y="5693866"/>
                </a:cubicBezTo>
                <a:cubicBezTo>
                  <a:pt x="4368224" y="5704589"/>
                  <a:pt x="4285637" y="5640916"/>
                  <a:pt x="4062561" y="5693866"/>
                </a:cubicBezTo>
                <a:cubicBezTo>
                  <a:pt x="3839485" y="5746816"/>
                  <a:pt x="3766588" y="5692646"/>
                  <a:pt x="3495164" y="5693866"/>
                </a:cubicBezTo>
                <a:cubicBezTo>
                  <a:pt x="3223740" y="5695086"/>
                  <a:pt x="3076508" y="5680976"/>
                  <a:pt x="2836984" y="5693866"/>
                </a:cubicBezTo>
                <a:cubicBezTo>
                  <a:pt x="2597460" y="5706756"/>
                  <a:pt x="2499398" y="5648067"/>
                  <a:pt x="2360370" y="5693866"/>
                </a:cubicBezTo>
                <a:cubicBezTo>
                  <a:pt x="2221342" y="5739665"/>
                  <a:pt x="2078639" y="5659983"/>
                  <a:pt x="1929149" y="5693866"/>
                </a:cubicBezTo>
                <a:cubicBezTo>
                  <a:pt x="1779659" y="5727749"/>
                  <a:pt x="1598475" y="5692414"/>
                  <a:pt x="1316360" y="5693866"/>
                </a:cubicBezTo>
                <a:cubicBezTo>
                  <a:pt x="1034245" y="5695318"/>
                  <a:pt x="1064674" y="5668434"/>
                  <a:pt x="885139" y="5693866"/>
                </a:cubicBezTo>
                <a:cubicBezTo>
                  <a:pt x="705604" y="5719298"/>
                  <a:pt x="317983" y="5655365"/>
                  <a:pt x="0" y="5693866"/>
                </a:cubicBezTo>
                <a:cubicBezTo>
                  <a:pt x="-7190" y="5589221"/>
                  <a:pt x="4088" y="5374553"/>
                  <a:pt x="0" y="5238357"/>
                </a:cubicBezTo>
                <a:cubicBezTo>
                  <a:pt x="-4088" y="5102161"/>
                  <a:pt x="31514" y="5005720"/>
                  <a:pt x="0" y="4782847"/>
                </a:cubicBezTo>
                <a:cubicBezTo>
                  <a:pt x="-31514" y="4559974"/>
                  <a:pt x="51634" y="4441499"/>
                  <a:pt x="0" y="4213461"/>
                </a:cubicBezTo>
                <a:cubicBezTo>
                  <a:pt x="-51634" y="3985423"/>
                  <a:pt x="24155" y="3766800"/>
                  <a:pt x="0" y="3644074"/>
                </a:cubicBezTo>
                <a:cubicBezTo>
                  <a:pt x="-24155" y="3521348"/>
                  <a:pt x="55628" y="3165462"/>
                  <a:pt x="0" y="3017749"/>
                </a:cubicBezTo>
                <a:cubicBezTo>
                  <a:pt x="-55628" y="2870036"/>
                  <a:pt x="63538" y="2592537"/>
                  <a:pt x="0" y="2334485"/>
                </a:cubicBezTo>
                <a:cubicBezTo>
                  <a:pt x="-63538" y="2076433"/>
                  <a:pt x="1513" y="1956751"/>
                  <a:pt x="0" y="1651221"/>
                </a:cubicBezTo>
                <a:cubicBezTo>
                  <a:pt x="-1513" y="1345691"/>
                  <a:pt x="1201" y="1272080"/>
                  <a:pt x="0" y="1081835"/>
                </a:cubicBezTo>
                <a:cubicBezTo>
                  <a:pt x="-1201" y="891590"/>
                  <a:pt x="82891" y="484414"/>
                  <a:pt x="0" y="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extLst>
              <a:ext uri="{C807C97D-BFC1-408E-A445-0C87EB9F89A2}">
                <ask:lineSketchStyleProps xmlns:ask="http://schemas.microsoft.com/office/drawing/2018/sketchyshapes" sd="3823374539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000000"/>
                </a:solidFill>
                <a:latin typeface="Calibri" panose="020F0502020204030204" pitchFamily="34" charset="0"/>
              </a:rPr>
              <a:t>Parameters Configuration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MAX_NB_WORDS (=50000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embedding_dims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word embedding dimension (</a:t>
            </a:r>
            <a:r>
              <a:rPr lang="en-US" sz="200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embedding_dims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100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the batch size of the data that will be fed to the model while training (</a:t>
            </a:r>
            <a:r>
              <a:rPr lang="en-US" sz="200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64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dropout_rate</a:t>
            </a: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how many neurons should be shut down per epoch (</a:t>
            </a:r>
            <a:r>
              <a:rPr lang="en-US" sz="200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dropout_rate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0.2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loss: 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“</a:t>
            </a:r>
            <a:r>
              <a:rPr lang="en-US" sz="200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categorical_crossentropy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”, since we have categorical output values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optimizer: 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“</a:t>
            </a:r>
            <a:r>
              <a:rPr lang="en-US" sz="200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adam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”, Adam optimization is a stochastic gradient descent method that is based on adaptive estimation of first-order and second-order moments.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metrics: 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“accuracy”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638515-7469-4BEC-BE6A-AB21457B7CEC}"/>
              </a:ext>
            </a:extLst>
          </p:cNvPr>
          <p:cNvSpPr txBox="1"/>
          <p:nvPr/>
        </p:nvSpPr>
        <p:spPr>
          <a:xfrm>
            <a:off x="4362867" y="4344421"/>
            <a:ext cx="2827606" cy="1015663"/>
          </a:xfrm>
          <a:custGeom>
            <a:avLst/>
            <a:gdLst>
              <a:gd name="connsiteX0" fmla="*/ 0 w 2827606"/>
              <a:gd name="connsiteY0" fmla="*/ 0 h 1015663"/>
              <a:gd name="connsiteX1" fmla="*/ 622073 w 2827606"/>
              <a:gd name="connsiteY1" fmla="*/ 0 h 1015663"/>
              <a:gd name="connsiteX2" fmla="*/ 1215871 w 2827606"/>
              <a:gd name="connsiteY2" fmla="*/ 0 h 1015663"/>
              <a:gd name="connsiteX3" fmla="*/ 1696564 w 2827606"/>
              <a:gd name="connsiteY3" fmla="*/ 0 h 1015663"/>
              <a:gd name="connsiteX4" fmla="*/ 2262085 w 2827606"/>
              <a:gd name="connsiteY4" fmla="*/ 0 h 1015663"/>
              <a:gd name="connsiteX5" fmla="*/ 2827606 w 2827606"/>
              <a:gd name="connsiteY5" fmla="*/ 0 h 1015663"/>
              <a:gd name="connsiteX6" fmla="*/ 2827606 w 2827606"/>
              <a:gd name="connsiteY6" fmla="*/ 497675 h 1015663"/>
              <a:gd name="connsiteX7" fmla="*/ 2827606 w 2827606"/>
              <a:gd name="connsiteY7" fmla="*/ 1015663 h 1015663"/>
              <a:gd name="connsiteX8" fmla="*/ 2346913 w 2827606"/>
              <a:gd name="connsiteY8" fmla="*/ 1015663 h 1015663"/>
              <a:gd name="connsiteX9" fmla="*/ 1809668 w 2827606"/>
              <a:gd name="connsiteY9" fmla="*/ 1015663 h 1015663"/>
              <a:gd name="connsiteX10" fmla="*/ 1215871 w 2827606"/>
              <a:gd name="connsiteY10" fmla="*/ 1015663 h 1015663"/>
              <a:gd name="connsiteX11" fmla="*/ 622073 w 2827606"/>
              <a:gd name="connsiteY11" fmla="*/ 1015663 h 1015663"/>
              <a:gd name="connsiteX12" fmla="*/ 0 w 2827606"/>
              <a:gd name="connsiteY12" fmla="*/ 1015663 h 1015663"/>
              <a:gd name="connsiteX13" fmla="*/ 0 w 2827606"/>
              <a:gd name="connsiteY13" fmla="*/ 507832 h 1015663"/>
              <a:gd name="connsiteX14" fmla="*/ 0 w 2827606"/>
              <a:gd name="connsiteY14" fmla="*/ 0 h 1015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27606" h="1015663" fill="none" extrusionOk="0">
                <a:moveTo>
                  <a:pt x="0" y="0"/>
                </a:moveTo>
                <a:cubicBezTo>
                  <a:pt x="295948" y="-71944"/>
                  <a:pt x="313030" y="67701"/>
                  <a:pt x="622073" y="0"/>
                </a:cubicBezTo>
                <a:cubicBezTo>
                  <a:pt x="931116" y="-67701"/>
                  <a:pt x="1061771" y="41529"/>
                  <a:pt x="1215871" y="0"/>
                </a:cubicBezTo>
                <a:cubicBezTo>
                  <a:pt x="1369971" y="-41529"/>
                  <a:pt x="1500097" y="3157"/>
                  <a:pt x="1696564" y="0"/>
                </a:cubicBezTo>
                <a:cubicBezTo>
                  <a:pt x="1893031" y="-3157"/>
                  <a:pt x="2124539" y="65154"/>
                  <a:pt x="2262085" y="0"/>
                </a:cubicBezTo>
                <a:cubicBezTo>
                  <a:pt x="2399631" y="-65154"/>
                  <a:pt x="2599208" y="45752"/>
                  <a:pt x="2827606" y="0"/>
                </a:cubicBezTo>
                <a:cubicBezTo>
                  <a:pt x="2836870" y="241078"/>
                  <a:pt x="2781299" y="331848"/>
                  <a:pt x="2827606" y="497675"/>
                </a:cubicBezTo>
                <a:cubicBezTo>
                  <a:pt x="2873913" y="663502"/>
                  <a:pt x="2775105" y="781660"/>
                  <a:pt x="2827606" y="1015663"/>
                </a:cubicBezTo>
                <a:cubicBezTo>
                  <a:pt x="2632501" y="1047687"/>
                  <a:pt x="2460575" y="966647"/>
                  <a:pt x="2346913" y="1015663"/>
                </a:cubicBezTo>
                <a:cubicBezTo>
                  <a:pt x="2233251" y="1064679"/>
                  <a:pt x="2030414" y="987434"/>
                  <a:pt x="1809668" y="1015663"/>
                </a:cubicBezTo>
                <a:cubicBezTo>
                  <a:pt x="1588923" y="1043892"/>
                  <a:pt x="1476447" y="948793"/>
                  <a:pt x="1215871" y="1015663"/>
                </a:cubicBezTo>
                <a:cubicBezTo>
                  <a:pt x="955295" y="1082533"/>
                  <a:pt x="769783" y="973085"/>
                  <a:pt x="622073" y="1015663"/>
                </a:cubicBezTo>
                <a:cubicBezTo>
                  <a:pt x="474363" y="1058241"/>
                  <a:pt x="188861" y="1013889"/>
                  <a:pt x="0" y="1015663"/>
                </a:cubicBezTo>
                <a:cubicBezTo>
                  <a:pt x="-37435" y="879317"/>
                  <a:pt x="3940" y="645052"/>
                  <a:pt x="0" y="507832"/>
                </a:cubicBezTo>
                <a:cubicBezTo>
                  <a:pt x="-3940" y="370612"/>
                  <a:pt x="42361" y="120915"/>
                  <a:pt x="0" y="0"/>
                </a:cubicBezTo>
                <a:close/>
              </a:path>
              <a:path w="2827606" h="1015663" stroke="0" extrusionOk="0">
                <a:moveTo>
                  <a:pt x="0" y="0"/>
                </a:moveTo>
                <a:cubicBezTo>
                  <a:pt x="155634" y="-27539"/>
                  <a:pt x="440276" y="21119"/>
                  <a:pt x="565521" y="0"/>
                </a:cubicBezTo>
                <a:cubicBezTo>
                  <a:pt x="690766" y="-21119"/>
                  <a:pt x="912794" y="7776"/>
                  <a:pt x="1159318" y="0"/>
                </a:cubicBezTo>
                <a:cubicBezTo>
                  <a:pt x="1405842" y="-7776"/>
                  <a:pt x="1489557" y="42933"/>
                  <a:pt x="1640011" y="0"/>
                </a:cubicBezTo>
                <a:cubicBezTo>
                  <a:pt x="1790465" y="-42933"/>
                  <a:pt x="1960319" y="44827"/>
                  <a:pt x="2205533" y="0"/>
                </a:cubicBezTo>
                <a:cubicBezTo>
                  <a:pt x="2450747" y="-44827"/>
                  <a:pt x="2516944" y="7397"/>
                  <a:pt x="2827606" y="0"/>
                </a:cubicBezTo>
                <a:cubicBezTo>
                  <a:pt x="2858683" y="231376"/>
                  <a:pt x="2771618" y="372373"/>
                  <a:pt x="2827606" y="477362"/>
                </a:cubicBezTo>
                <a:cubicBezTo>
                  <a:pt x="2883594" y="582351"/>
                  <a:pt x="2783171" y="823595"/>
                  <a:pt x="2827606" y="1015663"/>
                </a:cubicBezTo>
                <a:cubicBezTo>
                  <a:pt x="2672325" y="1048050"/>
                  <a:pt x="2478326" y="960946"/>
                  <a:pt x="2346913" y="1015663"/>
                </a:cubicBezTo>
                <a:cubicBezTo>
                  <a:pt x="2215500" y="1070380"/>
                  <a:pt x="2074018" y="992123"/>
                  <a:pt x="1809668" y="1015663"/>
                </a:cubicBezTo>
                <a:cubicBezTo>
                  <a:pt x="1545318" y="1039203"/>
                  <a:pt x="1395237" y="955813"/>
                  <a:pt x="1215871" y="1015663"/>
                </a:cubicBezTo>
                <a:cubicBezTo>
                  <a:pt x="1036505" y="1075513"/>
                  <a:pt x="865307" y="955457"/>
                  <a:pt x="593797" y="1015663"/>
                </a:cubicBezTo>
                <a:cubicBezTo>
                  <a:pt x="322287" y="1075869"/>
                  <a:pt x="206790" y="974851"/>
                  <a:pt x="0" y="1015663"/>
                </a:cubicBezTo>
                <a:cubicBezTo>
                  <a:pt x="-33116" y="870170"/>
                  <a:pt x="7775" y="656774"/>
                  <a:pt x="0" y="517988"/>
                </a:cubicBezTo>
                <a:cubicBezTo>
                  <a:pt x="-7775" y="379202"/>
                  <a:pt x="50017" y="170989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3950756230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rained 2 model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: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ith Dropout Rate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ithout Dropout Rate</a:t>
            </a:r>
          </a:p>
        </p:txBody>
      </p:sp>
      <p:pic>
        <p:nvPicPr>
          <p:cNvPr id="8" name="12 - Εικόνα">
            <a:extLst>
              <a:ext uri="{FF2B5EF4-FFF2-40B4-BE49-F238E27FC236}">
                <a16:creationId xmlns:a16="http://schemas.microsoft.com/office/drawing/2014/main" id="{A3FFF900-C75A-4F84-A482-A50EECBC7BA9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71673" y="4344421"/>
            <a:ext cx="2926080" cy="199644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A301FC5-9888-4659-9657-34B5FC5B950A}"/>
              </a:ext>
            </a:extLst>
          </p:cNvPr>
          <p:cNvSpPr txBox="1"/>
          <p:nvPr/>
        </p:nvSpPr>
        <p:spPr>
          <a:xfrm>
            <a:off x="4362867" y="5433261"/>
            <a:ext cx="2827606" cy="1231106"/>
          </a:xfrm>
          <a:custGeom>
            <a:avLst/>
            <a:gdLst>
              <a:gd name="connsiteX0" fmla="*/ 0 w 2827606"/>
              <a:gd name="connsiteY0" fmla="*/ 0 h 1015663"/>
              <a:gd name="connsiteX1" fmla="*/ 622073 w 2827606"/>
              <a:gd name="connsiteY1" fmla="*/ 0 h 1015663"/>
              <a:gd name="connsiteX2" fmla="*/ 1215871 w 2827606"/>
              <a:gd name="connsiteY2" fmla="*/ 0 h 1015663"/>
              <a:gd name="connsiteX3" fmla="*/ 1696564 w 2827606"/>
              <a:gd name="connsiteY3" fmla="*/ 0 h 1015663"/>
              <a:gd name="connsiteX4" fmla="*/ 2262085 w 2827606"/>
              <a:gd name="connsiteY4" fmla="*/ 0 h 1015663"/>
              <a:gd name="connsiteX5" fmla="*/ 2827606 w 2827606"/>
              <a:gd name="connsiteY5" fmla="*/ 0 h 1015663"/>
              <a:gd name="connsiteX6" fmla="*/ 2827606 w 2827606"/>
              <a:gd name="connsiteY6" fmla="*/ 497675 h 1015663"/>
              <a:gd name="connsiteX7" fmla="*/ 2827606 w 2827606"/>
              <a:gd name="connsiteY7" fmla="*/ 1015663 h 1015663"/>
              <a:gd name="connsiteX8" fmla="*/ 2346913 w 2827606"/>
              <a:gd name="connsiteY8" fmla="*/ 1015663 h 1015663"/>
              <a:gd name="connsiteX9" fmla="*/ 1809668 w 2827606"/>
              <a:gd name="connsiteY9" fmla="*/ 1015663 h 1015663"/>
              <a:gd name="connsiteX10" fmla="*/ 1215871 w 2827606"/>
              <a:gd name="connsiteY10" fmla="*/ 1015663 h 1015663"/>
              <a:gd name="connsiteX11" fmla="*/ 622073 w 2827606"/>
              <a:gd name="connsiteY11" fmla="*/ 1015663 h 1015663"/>
              <a:gd name="connsiteX12" fmla="*/ 0 w 2827606"/>
              <a:gd name="connsiteY12" fmla="*/ 1015663 h 1015663"/>
              <a:gd name="connsiteX13" fmla="*/ 0 w 2827606"/>
              <a:gd name="connsiteY13" fmla="*/ 507832 h 1015663"/>
              <a:gd name="connsiteX14" fmla="*/ 0 w 2827606"/>
              <a:gd name="connsiteY14" fmla="*/ 0 h 1015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27606" h="1015663" fill="none" extrusionOk="0">
                <a:moveTo>
                  <a:pt x="0" y="0"/>
                </a:moveTo>
                <a:cubicBezTo>
                  <a:pt x="295948" y="-71944"/>
                  <a:pt x="313030" y="67701"/>
                  <a:pt x="622073" y="0"/>
                </a:cubicBezTo>
                <a:cubicBezTo>
                  <a:pt x="931116" y="-67701"/>
                  <a:pt x="1061771" y="41529"/>
                  <a:pt x="1215871" y="0"/>
                </a:cubicBezTo>
                <a:cubicBezTo>
                  <a:pt x="1369971" y="-41529"/>
                  <a:pt x="1500097" y="3157"/>
                  <a:pt x="1696564" y="0"/>
                </a:cubicBezTo>
                <a:cubicBezTo>
                  <a:pt x="1893031" y="-3157"/>
                  <a:pt x="2124539" y="65154"/>
                  <a:pt x="2262085" y="0"/>
                </a:cubicBezTo>
                <a:cubicBezTo>
                  <a:pt x="2399631" y="-65154"/>
                  <a:pt x="2599208" y="45752"/>
                  <a:pt x="2827606" y="0"/>
                </a:cubicBezTo>
                <a:cubicBezTo>
                  <a:pt x="2836870" y="241078"/>
                  <a:pt x="2781299" y="331848"/>
                  <a:pt x="2827606" y="497675"/>
                </a:cubicBezTo>
                <a:cubicBezTo>
                  <a:pt x="2873913" y="663502"/>
                  <a:pt x="2775105" y="781660"/>
                  <a:pt x="2827606" y="1015663"/>
                </a:cubicBezTo>
                <a:cubicBezTo>
                  <a:pt x="2632501" y="1047687"/>
                  <a:pt x="2460575" y="966647"/>
                  <a:pt x="2346913" y="1015663"/>
                </a:cubicBezTo>
                <a:cubicBezTo>
                  <a:pt x="2233251" y="1064679"/>
                  <a:pt x="2030414" y="987434"/>
                  <a:pt x="1809668" y="1015663"/>
                </a:cubicBezTo>
                <a:cubicBezTo>
                  <a:pt x="1588923" y="1043892"/>
                  <a:pt x="1476447" y="948793"/>
                  <a:pt x="1215871" y="1015663"/>
                </a:cubicBezTo>
                <a:cubicBezTo>
                  <a:pt x="955295" y="1082533"/>
                  <a:pt x="769783" y="973085"/>
                  <a:pt x="622073" y="1015663"/>
                </a:cubicBezTo>
                <a:cubicBezTo>
                  <a:pt x="474363" y="1058241"/>
                  <a:pt x="188861" y="1013889"/>
                  <a:pt x="0" y="1015663"/>
                </a:cubicBezTo>
                <a:cubicBezTo>
                  <a:pt x="-37435" y="879317"/>
                  <a:pt x="3940" y="645052"/>
                  <a:pt x="0" y="507832"/>
                </a:cubicBezTo>
                <a:cubicBezTo>
                  <a:pt x="-3940" y="370612"/>
                  <a:pt x="42361" y="120915"/>
                  <a:pt x="0" y="0"/>
                </a:cubicBezTo>
                <a:close/>
              </a:path>
              <a:path w="2827606" h="1015663" stroke="0" extrusionOk="0">
                <a:moveTo>
                  <a:pt x="0" y="0"/>
                </a:moveTo>
                <a:cubicBezTo>
                  <a:pt x="155634" y="-27539"/>
                  <a:pt x="440276" y="21119"/>
                  <a:pt x="565521" y="0"/>
                </a:cubicBezTo>
                <a:cubicBezTo>
                  <a:pt x="690766" y="-21119"/>
                  <a:pt x="912794" y="7776"/>
                  <a:pt x="1159318" y="0"/>
                </a:cubicBezTo>
                <a:cubicBezTo>
                  <a:pt x="1405842" y="-7776"/>
                  <a:pt x="1489557" y="42933"/>
                  <a:pt x="1640011" y="0"/>
                </a:cubicBezTo>
                <a:cubicBezTo>
                  <a:pt x="1790465" y="-42933"/>
                  <a:pt x="1960319" y="44827"/>
                  <a:pt x="2205533" y="0"/>
                </a:cubicBezTo>
                <a:cubicBezTo>
                  <a:pt x="2450747" y="-44827"/>
                  <a:pt x="2516944" y="7397"/>
                  <a:pt x="2827606" y="0"/>
                </a:cubicBezTo>
                <a:cubicBezTo>
                  <a:pt x="2858683" y="231376"/>
                  <a:pt x="2771618" y="372373"/>
                  <a:pt x="2827606" y="477362"/>
                </a:cubicBezTo>
                <a:cubicBezTo>
                  <a:pt x="2883594" y="582351"/>
                  <a:pt x="2783171" y="823595"/>
                  <a:pt x="2827606" y="1015663"/>
                </a:cubicBezTo>
                <a:cubicBezTo>
                  <a:pt x="2672325" y="1048050"/>
                  <a:pt x="2478326" y="960946"/>
                  <a:pt x="2346913" y="1015663"/>
                </a:cubicBezTo>
                <a:cubicBezTo>
                  <a:pt x="2215500" y="1070380"/>
                  <a:pt x="2074018" y="992123"/>
                  <a:pt x="1809668" y="1015663"/>
                </a:cubicBezTo>
                <a:cubicBezTo>
                  <a:pt x="1545318" y="1039203"/>
                  <a:pt x="1395237" y="955813"/>
                  <a:pt x="1215871" y="1015663"/>
                </a:cubicBezTo>
                <a:cubicBezTo>
                  <a:pt x="1036505" y="1075513"/>
                  <a:pt x="865307" y="955457"/>
                  <a:pt x="593797" y="1015663"/>
                </a:cubicBezTo>
                <a:cubicBezTo>
                  <a:pt x="322287" y="1075869"/>
                  <a:pt x="206790" y="974851"/>
                  <a:pt x="0" y="1015663"/>
                </a:cubicBezTo>
                <a:cubicBezTo>
                  <a:pt x="-33116" y="870170"/>
                  <a:pt x="7775" y="656774"/>
                  <a:pt x="0" y="517988"/>
                </a:cubicBezTo>
                <a:cubicBezTo>
                  <a:pt x="-7775" y="379202"/>
                  <a:pt x="50017" y="170989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3950756230">
                  <a:custGeom>
                    <a:avLst/>
                    <a:gdLst>
                      <a:gd name="connsiteX0" fmla="*/ 0 w 2827606"/>
                      <a:gd name="connsiteY0" fmla="*/ 0 h 1231106"/>
                      <a:gd name="connsiteX1" fmla="*/ 622073 w 2827606"/>
                      <a:gd name="connsiteY1" fmla="*/ 0 h 1231106"/>
                      <a:gd name="connsiteX2" fmla="*/ 1215871 w 2827606"/>
                      <a:gd name="connsiteY2" fmla="*/ 0 h 1231106"/>
                      <a:gd name="connsiteX3" fmla="*/ 1696564 w 2827606"/>
                      <a:gd name="connsiteY3" fmla="*/ 0 h 1231106"/>
                      <a:gd name="connsiteX4" fmla="*/ 2262085 w 2827606"/>
                      <a:gd name="connsiteY4" fmla="*/ 0 h 1231106"/>
                      <a:gd name="connsiteX5" fmla="*/ 2827606 w 2827606"/>
                      <a:gd name="connsiteY5" fmla="*/ 0 h 1231106"/>
                      <a:gd name="connsiteX6" fmla="*/ 2827606 w 2827606"/>
                      <a:gd name="connsiteY6" fmla="*/ 603242 h 1231106"/>
                      <a:gd name="connsiteX7" fmla="*/ 2827606 w 2827606"/>
                      <a:gd name="connsiteY7" fmla="*/ 1231106 h 1231106"/>
                      <a:gd name="connsiteX8" fmla="*/ 2346913 w 2827606"/>
                      <a:gd name="connsiteY8" fmla="*/ 1231106 h 1231106"/>
                      <a:gd name="connsiteX9" fmla="*/ 1809668 w 2827606"/>
                      <a:gd name="connsiteY9" fmla="*/ 1231106 h 1231106"/>
                      <a:gd name="connsiteX10" fmla="*/ 1215871 w 2827606"/>
                      <a:gd name="connsiteY10" fmla="*/ 1231106 h 1231106"/>
                      <a:gd name="connsiteX11" fmla="*/ 622073 w 2827606"/>
                      <a:gd name="connsiteY11" fmla="*/ 1231106 h 1231106"/>
                      <a:gd name="connsiteX12" fmla="*/ 0 w 2827606"/>
                      <a:gd name="connsiteY12" fmla="*/ 1231106 h 1231106"/>
                      <a:gd name="connsiteX13" fmla="*/ 0 w 2827606"/>
                      <a:gd name="connsiteY13" fmla="*/ 615553 h 1231106"/>
                      <a:gd name="connsiteX14" fmla="*/ 0 w 2827606"/>
                      <a:gd name="connsiteY14" fmla="*/ 0 h 1231106"/>
                      <a:gd name="connsiteX0" fmla="*/ 0 w 2827606"/>
                      <a:gd name="connsiteY0" fmla="*/ 0 h 1231106"/>
                      <a:gd name="connsiteX1" fmla="*/ 565521 w 2827606"/>
                      <a:gd name="connsiteY1" fmla="*/ 0 h 1231106"/>
                      <a:gd name="connsiteX2" fmla="*/ 1159318 w 2827606"/>
                      <a:gd name="connsiteY2" fmla="*/ 0 h 1231106"/>
                      <a:gd name="connsiteX3" fmla="*/ 1640011 w 2827606"/>
                      <a:gd name="connsiteY3" fmla="*/ 0 h 1231106"/>
                      <a:gd name="connsiteX4" fmla="*/ 2205533 w 2827606"/>
                      <a:gd name="connsiteY4" fmla="*/ 0 h 1231106"/>
                      <a:gd name="connsiteX5" fmla="*/ 2827606 w 2827606"/>
                      <a:gd name="connsiteY5" fmla="*/ 0 h 1231106"/>
                      <a:gd name="connsiteX6" fmla="*/ 2827606 w 2827606"/>
                      <a:gd name="connsiteY6" fmla="*/ 578620 h 1231106"/>
                      <a:gd name="connsiteX7" fmla="*/ 2827606 w 2827606"/>
                      <a:gd name="connsiteY7" fmla="*/ 1231106 h 1231106"/>
                      <a:gd name="connsiteX8" fmla="*/ 2346913 w 2827606"/>
                      <a:gd name="connsiteY8" fmla="*/ 1231106 h 1231106"/>
                      <a:gd name="connsiteX9" fmla="*/ 1809668 w 2827606"/>
                      <a:gd name="connsiteY9" fmla="*/ 1231106 h 1231106"/>
                      <a:gd name="connsiteX10" fmla="*/ 1215871 w 2827606"/>
                      <a:gd name="connsiteY10" fmla="*/ 1231106 h 1231106"/>
                      <a:gd name="connsiteX11" fmla="*/ 593797 w 2827606"/>
                      <a:gd name="connsiteY11" fmla="*/ 1231106 h 1231106"/>
                      <a:gd name="connsiteX12" fmla="*/ 0 w 2827606"/>
                      <a:gd name="connsiteY12" fmla="*/ 1231106 h 1231106"/>
                      <a:gd name="connsiteX13" fmla="*/ 0 w 2827606"/>
                      <a:gd name="connsiteY13" fmla="*/ 627863 h 1231106"/>
                      <a:gd name="connsiteX14" fmla="*/ 0 w 2827606"/>
                      <a:gd name="connsiteY14" fmla="*/ 0 h 12311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827606" h="1231106" fill="none" extrusionOk="0">
                        <a:moveTo>
                          <a:pt x="0" y="0"/>
                        </a:moveTo>
                        <a:cubicBezTo>
                          <a:pt x="323396" y="-119148"/>
                          <a:pt x="303076" y="79131"/>
                          <a:pt x="622073" y="0"/>
                        </a:cubicBezTo>
                        <a:cubicBezTo>
                          <a:pt x="948366" y="-97708"/>
                          <a:pt x="1056402" y="26218"/>
                          <a:pt x="1215871" y="0"/>
                        </a:cubicBezTo>
                        <a:cubicBezTo>
                          <a:pt x="1393795" y="-30406"/>
                          <a:pt x="1469778" y="26786"/>
                          <a:pt x="1696564" y="0"/>
                        </a:cubicBezTo>
                        <a:cubicBezTo>
                          <a:pt x="1870209" y="-38263"/>
                          <a:pt x="2149090" y="113279"/>
                          <a:pt x="2262085" y="0"/>
                        </a:cubicBezTo>
                        <a:cubicBezTo>
                          <a:pt x="2429283" y="-122691"/>
                          <a:pt x="2645038" y="92475"/>
                          <a:pt x="2827606" y="0"/>
                        </a:cubicBezTo>
                        <a:cubicBezTo>
                          <a:pt x="2855381" y="317420"/>
                          <a:pt x="2752549" y="400611"/>
                          <a:pt x="2827606" y="603242"/>
                        </a:cubicBezTo>
                        <a:cubicBezTo>
                          <a:pt x="2895032" y="808464"/>
                          <a:pt x="2755280" y="971429"/>
                          <a:pt x="2827606" y="1231106"/>
                        </a:cubicBezTo>
                        <a:cubicBezTo>
                          <a:pt x="2646831" y="1297023"/>
                          <a:pt x="2461535" y="1182702"/>
                          <a:pt x="2346913" y="1231106"/>
                        </a:cubicBezTo>
                        <a:cubicBezTo>
                          <a:pt x="2227782" y="1341937"/>
                          <a:pt x="2022996" y="1168205"/>
                          <a:pt x="1809668" y="1231106"/>
                        </a:cubicBezTo>
                        <a:cubicBezTo>
                          <a:pt x="1618423" y="1237196"/>
                          <a:pt x="1481291" y="1139607"/>
                          <a:pt x="1215871" y="1231106"/>
                        </a:cubicBezTo>
                        <a:cubicBezTo>
                          <a:pt x="972517" y="1322481"/>
                          <a:pt x="804608" y="1149594"/>
                          <a:pt x="622073" y="1231106"/>
                        </a:cubicBezTo>
                        <a:cubicBezTo>
                          <a:pt x="467063" y="1292162"/>
                          <a:pt x="173773" y="1234537"/>
                          <a:pt x="0" y="1231106"/>
                        </a:cubicBezTo>
                        <a:cubicBezTo>
                          <a:pt x="-59994" y="1032927"/>
                          <a:pt x="-8856" y="751109"/>
                          <a:pt x="0" y="615553"/>
                        </a:cubicBezTo>
                        <a:cubicBezTo>
                          <a:pt x="-14339" y="443150"/>
                          <a:pt x="59507" y="111875"/>
                          <a:pt x="0" y="0"/>
                        </a:cubicBezTo>
                        <a:close/>
                      </a:path>
                      <a:path w="2827606" h="1231106" stroke="0" extrusionOk="0">
                        <a:moveTo>
                          <a:pt x="0" y="0"/>
                        </a:moveTo>
                        <a:cubicBezTo>
                          <a:pt x="162561" y="-31848"/>
                          <a:pt x="427562" y="4135"/>
                          <a:pt x="565521" y="0"/>
                        </a:cubicBezTo>
                        <a:cubicBezTo>
                          <a:pt x="705126" y="-41574"/>
                          <a:pt x="903134" y="-15256"/>
                          <a:pt x="1159318" y="0"/>
                        </a:cubicBezTo>
                        <a:cubicBezTo>
                          <a:pt x="1412965" y="-18307"/>
                          <a:pt x="1466590" y="67310"/>
                          <a:pt x="1640011" y="0"/>
                        </a:cubicBezTo>
                        <a:cubicBezTo>
                          <a:pt x="1745504" y="-47223"/>
                          <a:pt x="1958983" y="46108"/>
                          <a:pt x="2205533" y="0"/>
                        </a:cubicBezTo>
                        <a:cubicBezTo>
                          <a:pt x="2462077" y="-44526"/>
                          <a:pt x="2511900" y="-12619"/>
                          <a:pt x="2827606" y="0"/>
                        </a:cubicBezTo>
                        <a:cubicBezTo>
                          <a:pt x="2876705" y="303033"/>
                          <a:pt x="2762085" y="423304"/>
                          <a:pt x="2827606" y="578620"/>
                        </a:cubicBezTo>
                        <a:cubicBezTo>
                          <a:pt x="2881685" y="712217"/>
                          <a:pt x="2789478" y="1013508"/>
                          <a:pt x="2827606" y="1231106"/>
                        </a:cubicBezTo>
                        <a:cubicBezTo>
                          <a:pt x="2678614" y="1247898"/>
                          <a:pt x="2472282" y="1167305"/>
                          <a:pt x="2346913" y="1231106"/>
                        </a:cubicBezTo>
                        <a:cubicBezTo>
                          <a:pt x="2259560" y="1301389"/>
                          <a:pt x="2097537" y="1234755"/>
                          <a:pt x="1809668" y="1231106"/>
                        </a:cubicBezTo>
                        <a:cubicBezTo>
                          <a:pt x="1595964" y="1268639"/>
                          <a:pt x="1370029" y="1174146"/>
                          <a:pt x="1215871" y="1231106"/>
                        </a:cubicBezTo>
                        <a:cubicBezTo>
                          <a:pt x="1020470" y="1264373"/>
                          <a:pt x="864823" y="1164076"/>
                          <a:pt x="593797" y="1231106"/>
                        </a:cubicBezTo>
                        <a:cubicBezTo>
                          <a:pt x="338151" y="1282421"/>
                          <a:pt x="225790" y="1218161"/>
                          <a:pt x="0" y="1231106"/>
                        </a:cubicBezTo>
                        <a:cubicBezTo>
                          <a:pt x="-5613" y="1030515"/>
                          <a:pt x="13611" y="786786"/>
                          <a:pt x="0" y="627863"/>
                        </a:cubicBezTo>
                        <a:cubicBezTo>
                          <a:pt x="42995" y="448309"/>
                          <a:pt x="36018" y="199781"/>
                          <a:pt x="0" y="0"/>
                        </a:cubicBezTo>
                        <a:close/>
                      </a:path>
                      <a:path w="2827606" h="1231106" fill="none" stroke="0" extrusionOk="0">
                        <a:moveTo>
                          <a:pt x="0" y="0"/>
                        </a:moveTo>
                        <a:cubicBezTo>
                          <a:pt x="294465" y="-46746"/>
                          <a:pt x="320088" y="91678"/>
                          <a:pt x="622073" y="0"/>
                        </a:cubicBezTo>
                        <a:cubicBezTo>
                          <a:pt x="931498" y="-77990"/>
                          <a:pt x="1023216" y="56358"/>
                          <a:pt x="1215871" y="0"/>
                        </a:cubicBezTo>
                        <a:cubicBezTo>
                          <a:pt x="1345702" y="-62159"/>
                          <a:pt x="1507965" y="-22056"/>
                          <a:pt x="1696564" y="0"/>
                        </a:cubicBezTo>
                        <a:cubicBezTo>
                          <a:pt x="1898596" y="-11079"/>
                          <a:pt x="2113722" y="70484"/>
                          <a:pt x="2262085" y="0"/>
                        </a:cubicBezTo>
                        <a:cubicBezTo>
                          <a:pt x="2404612" y="-61279"/>
                          <a:pt x="2589174" y="-13964"/>
                          <a:pt x="2827606" y="0"/>
                        </a:cubicBezTo>
                        <a:cubicBezTo>
                          <a:pt x="2860119" y="266398"/>
                          <a:pt x="2779827" y="410041"/>
                          <a:pt x="2827606" y="603242"/>
                        </a:cubicBezTo>
                        <a:cubicBezTo>
                          <a:pt x="2919155" y="814378"/>
                          <a:pt x="2763902" y="930410"/>
                          <a:pt x="2827606" y="1231106"/>
                        </a:cubicBezTo>
                        <a:cubicBezTo>
                          <a:pt x="2664559" y="1269272"/>
                          <a:pt x="2466164" y="1172838"/>
                          <a:pt x="2346913" y="1231106"/>
                        </a:cubicBezTo>
                        <a:cubicBezTo>
                          <a:pt x="2249068" y="1288346"/>
                          <a:pt x="1981199" y="1196311"/>
                          <a:pt x="1809668" y="1231106"/>
                        </a:cubicBezTo>
                        <a:cubicBezTo>
                          <a:pt x="1555253" y="1240107"/>
                          <a:pt x="1492985" y="1170653"/>
                          <a:pt x="1215871" y="1231106"/>
                        </a:cubicBezTo>
                        <a:cubicBezTo>
                          <a:pt x="913830" y="1323783"/>
                          <a:pt x="776321" y="1196235"/>
                          <a:pt x="622073" y="1231106"/>
                        </a:cubicBezTo>
                        <a:cubicBezTo>
                          <a:pt x="517710" y="1302710"/>
                          <a:pt x="138948" y="1250113"/>
                          <a:pt x="0" y="1231106"/>
                        </a:cubicBezTo>
                        <a:cubicBezTo>
                          <a:pt x="-14465" y="1056467"/>
                          <a:pt x="42844" y="779923"/>
                          <a:pt x="0" y="615553"/>
                        </a:cubicBezTo>
                        <a:cubicBezTo>
                          <a:pt x="-19537" y="430198"/>
                          <a:pt x="34757" y="142227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se of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STM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: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Resolves vanishing problem of RNN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Uses back-propagation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98206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307CC8C-DF26-4B34-953E-725C40025543}"/>
              </a:ext>
            </a:extLst>
          </p:cNvPr>
          <p:cNvSpPr txBox="1"/>
          <p:nvPr/>
        </p:nvSpPr>
        <p:spPr>
          <a:xfrm>
            <a:off x="739301" y="938638"/>
            <a:ext cx="64786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lected Method: CNN (Convolutional Neural Network)</a:t>
            </a:r>
            <a:endParaRPr lang="el-GR" dirty="0"/>
          </a:p>
        </p:txBody>
      </p:sp>
      <p:sp>
        <p:nvSpPr>
          <p:cNvPr id="5" name="Βέλος: Δεξιό 4">
            <a:extLst>
              <a:ext uri="{FF2B5EF4-FFF2-40B4-BE49-F238E27FC236}">
                <a16:creationId xmlns:a16="http://schemas.microsoft.com/office/drawing/2014/main" id="{1EA9FB5C-606F-4576-9D99-498C4333CF04}"/>
              </a:ext>
            </a:extLst>
          </p:cNvPr>
          <p:cNvSpPr/>
          <p:nvPr/>
        </p:nvSpPr>
        <p:spPr>
          <a:xfrm>
            <a:off x="306423" y="1023595"/>
            <a:ext cx="359921" cy="199417"/>
          </a:xfrm>
          <a:prstGeom prst="rightArrow">
            <a:avLst/>
          </a:prstGeom>
          <a:solidFill>
            <a:schemeClr val="tx1">
              <a:lumMod val="85000"/>
            </a:schemeClr>
          </a:solidFill>
          <a:ln>
            <a:solidFill>
              <a:schemeClr val="tx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EC9919-6653-4E7E-B780-A2D24E45100F}"/>
              </a:ext>
            </a:extLst>
          </p:cNvPr>
          <p:cNvSpPr txBox="1"/>
          <p:nvPr/>
        </p:nvSpPr>
        <p:spPr>
          <a:xfrm>
            <a:off x="865762" y="1425021"/>
            <a:ext cx="700391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FF0000"/>
                </a:solidFill>
              </a:rPr>
              <a:t>Reject</a:t>
            </a:r>
            <a:r>
              <a:rPr lang="en-US" dirty="0"/>
              <a:t> RNN due to low accuracy results in all varia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FF0000"/>
                </a:solidFill>
              </a:rPr>
              <a:t>Reject</a:t>
            </a:r>
            <a:r>
              <a:rPr lang="en-US" dirty="0"/>
              <a:t> MLP due to overfitting </a:t>
            </a:r>
            <a:r>
              <a:rPr lang="en-US" dirty="0">
                <a:sym typeface="Wingdings" panose="05000000000000000000" pitchFamily="2" charset="2"/>
              </a:rPr>
              <a:t> the gap between train and val. Accuracies while visualizing the plots is really large</a:t>
            </a:r>
            <a:endParaRPr lang="el-GR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4BEEED-9FDB-44B8-B69C-C277E9BBF166}"/>
              </a:ext>
            </a:extLst>
          </p:cNvPr>
          <p:cNvSpPr txBox="1"/>
          <p:nvPr/>
        </p:nvSpPr>
        <p:spPr>
          <a:xfrm>
            <a:off x="865762" y="3176362"/>
            <a:ext cx="49513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ariations average accuracy: </a:t>
            </a:r>
            <a:r>
              <a:rPr lang="en-US" b="1" dirty="0">
                <a:solidFill>
                  <a:srgbClr val="92D050"/>
                </a:solidFill>
              </a:rPr>
              <a:t>91.25</a:t>
            </a:r>
            <a:r>
              <a:rPr lang="en-US" dirty="0">
                <a:solidFill>
                  <a:srgbClr val="92D050"/>
                </a:solidFill>
              </a:rPr>
              <a:t>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OC cur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fusion matr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lassification reports  </a:t>
            </a:r>
            <a:endParaRPr lang="el-GR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18BBAE-C7AC-4573-87A6-70784052E4A5}"/>
              </a:ext>
            </a:extLst>
          </p:cNvPr>
          <p:cNvSpPr txBox="1"/>
          <p:nvPr/>
        </p:nvSpPr>
        <p:spPr>
          <a:xfrm>
            <a:off x="865762" y="2690298"/>
            <a:ext cx="5257799" cy="46166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r>
              <a:rPr lang="en-US" sz="2400" b="1" dirty="0">
                <a:ln/>
                <a:solidFill>
                  <a:schemeClr val="tx1">
                    <a:lumMod val="95000"/>
                  </a:schemeClr>
                </a:solidFill>
              </a:rPr>
              <a:t>CNN metrics</a:t>
            </a:r>
            <a:endParaRPr lang="el-GR" sz="2400" b="1" dirty="0">
              <a:ln/>
              <a:solidFill>
                <a:schemeClr val="tx1">
                  <a:lumMod val="95000"/>
                </a:schemeClr>
              </a:solidFill>
            </a:endParaRPr>
          </a:p>
        </p:txBody>
      </p:sp>
      <p:pic>
        <p:nvPicPr>
          <p:cNvPr id="10" name="Εικόνα 9">
            <a:extLst>
              <a:ext uri="{FF2B5EF4-FFF2-40B4-BE49-F238E27FC236}">
                <a16:creationId xmlns:a16="http://schemas.microsoft.com/office/drawing/2014/main" id="{DD3276B3-8CCA-420B-BFEF-50306F429A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7438" y="4195151"/>
            <a:ext cx="5100034" cy="232463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2" name="Εικόνα 11">
            <a:extLst>
              <a:ext uri="{FF2B5EF4-FFF2-40B4-BE49-F238E27FC236}">
                <a16:creationId xmlns:a16="http://schemas.microsoft.com/office/drawing/2014/main" id="{D425D5E0-C4A6-46A9-85F7-F5C3521BBF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7455" y="1023595"/>
            <a:ext cx="3048000" cy="291547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Εικόνα 13">
            <a:extLst>
              <a:ext uri="{FF2B5EF4-FFF2-40B4-BE49-F238E27FC236}">
                <a16:creationId xmlns:a16="http://schemas.microsoft.com/office/drawing/2014/main" id="{CA610D2A-D816-4AE2-9DC6-1480E27AA9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4375" y="4509650"/>
            <a:ext cx="4048125" cy="19812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F4E9DBF-6CBC-47EE-8D08-92E19CE0B5D2}"/>
              </a:ext>
            </a:extLst>
          </p:cNvPr>
          <p:cNvSpPr txBox="1"/>
          <p:nvPr/>
        </p:nvSpPr>
        <p:spPr>
          <a:xfrm>
            <a:off x="306422" y="130231"/>
            <a:ext cx="9583165" cy="109278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39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Best Neural Network Method selection</a:t>
            </a:r>
          </a:p>
        </p:txBody>
      </p:sp>
    </p:spTree>
    <p:extLst>
      <p:ext uri="{BB962C8B-B14F-4D97-AF65-F5344CB8AC3E}">
        <p14:creationId xmlns:p14="http://schemas.microsoft.com/office/powerpoint/2010/main" val="4416186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6" grpId="0"/>
      <p:bldP spid="7" grpId="0"/>
      <p:bldP spid="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21B89F6-8EBE-4C9D-950E-C10E8E12A093}"/>
              </a:ext>
            </a:extLst>
          </p:cNvPr>
          <p:cNvSpPr txBox="1"/>
          <p:nvPr/>
        </p:nvSpPr>
        <p:spPr>
          <a:xfrm>
            <a:off x="604911" y="249611"/>
            <a:ext cx="8420100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900" b="0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Model predictions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0F4BB9F-2D05-41F7-9737-30828AAA2572}"/>
              </a:ext>
            </a:extLst>
          </p:cNvPr>
          <p:cNvSpPr txBox="1"/>
          <p:nvPr/>
        </p:nvSpPr>
        <p:spPr>
          <a:xfrm>
            <a:off x="405033" y="1122009"/>
            <a:ext cx="6785440" cy="14601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Evaluation dataset consists of 99 documents. </a:t>
            </a: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valuation on all 3 variations </a:t>
            </a: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Create new function to take a new document and predict its SDG </a:t>
            </a:r>
            <a:endParaRPr lang="en-US" sz="18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968B44F-E36C-40BD-855C-A17B9D8F621E}"/>
              </a:ext>
            </a:extLst>
          </p:cNvPr>
          <p:cNvSpPr txBox="1"/>
          <p:nvPr/>
        </p:nvSpPr>
        <p:spPr>
          <a:xfrm>
            <a:off x="604911" y="2967335"/>
            <a:ext cx="28091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Results:</a:t>
            </a:r>
            <a:endParaRPr lang="el-GR" sz="2400" dirty="0"/>
          </a:p>
        </p:txBody>
      </p:sp>
      <p:pic>
        <p:nvPicPr>
          <p:cNvPr id="8" name="Εικόνα 7">
            <a:extLst>
              <a:ext uri="{FF2B5EF4-FFF2-40B4-BE49-F238E27FC236}">
                <a16:creationId xmlns:a16="http://schemas.microsoft.com/office/drawing/2014/main" id="{2E2CC896-B717-4041-9739-CDAF713B06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912" y="3553820"/>
            <a:ext cx="7478981" cy="117024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C40564-BED4-4C23-BA18-6287341351BE}"/>
              </a:ext>
            </a:extLst>
          </p:cNvPr>
          <p:cNvSpPr txBox="1"/>
          <p:nvPr/>
        </p:nvSpPr>
        <p:spPr>
          <a:xfrm>
            <a:off x="712912" y="5193864"/>
            <a:ext cx="111742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mportant note: The lowest accuracy achieved only in the 2 specific SDGs with the smallest number of documents in our initial dataset (SDG7, SDG12)</a:t>
            </a:r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8292255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005F821-747D-4CD7-A4A0-ED7BBA25B288}"/>
              </a:ext>
            </a:extLst>
          </p:cNvPr>
          <p:cNvSpPr txBox="1"/>
          <p:nvPr/>
        </p:nvSpPr>
        <p:spPr>
          <a:xfrm>
            <a:off x="619747" y="512534"/>
            <a:ext cx="9252154" cy="122398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39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onclus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FD086BE-F2FF-4CC6-A1EA-9F3A6AB7F06E}"/>
              </a:ext>
            </a:extLst>
          </p:cNvPr>
          <p:cNvSpPr txBox="1"/>
          <p:nvPr/>
        </p:nvSpPr>
        <p:spPr>
          <a:xfrm>
            <a:off x="707010" y="1736516"/>
            <a:ext cx="69098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	Goal achieved: model’s accuracy &gt; 90%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008668-168F-4162-BA1D-C52859083763}"/>
              </a:ext>
            </a:extLst>
          </p:cNvPr>
          <p:cNvSpPr txBox="1"/>
          <p:nvPr/>
        </p:nvSpPr>
        <p:spPr>
          <a:xfrm>
            <a:off x="707010" y="2505670"/>
            <a:ext cx="807504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	UN Online library implementation will be completed 	earlier than expected</a:t>
            </a:r>
          </a:p>
          <a:p>
            <a:endParaRPr lang="el-GR" dirty="0"/>
          </a:p>
        </p:txBody>
      </p:sp>
      <p:pic>
        <p:nvPicPr>
          <p:cNvPr id="11" name="Εικόνα 10">
            <a:extLst>
              <a:ext uri="{FF2B5EF4-FFF2-40B4-BE49-F238E27FC236}">
                <a16:creationId xmlns:a16="http://schemas.microsoft.com/office/drawing/2014/main" id="{5E23FAD7-50FA-4882-A61C-5D7D00E4E2D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8" b="8039"/>
          <a:stretch/>
        </p:blipFill>
        <p:spPr>
          <a:xfrm>
            <a:off x="7003155" y="3429000"/>
            <a:ext cx="4600136" cy="309394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grpSp>
        <p:nvGrpSpPr>
          <p:cNvPr id="12" name="Book_shelf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9BC4F7E-8CCC-4290-B0F3-BEA06DDC64BF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31912" y="2505670"/>
            <a:ext cx="602289" cy="542925"/>
            <a:chOff x="2478" y="863"/>
            <a:chExt cx="2648" cy="2387"/>
          </a:xfrm>
          <a:solidFill>
            <a:schemeClr val="accent1"/>
          </a:solidFill>
        </p:grpSpPr>
        <p:sp>
          <p:nvSpPr>
            <p:cNvPr id="13" name="Rectangle 115">
              <a:extLst>
                <a:ext uri="{FF2B5EF4-FFF2-40B4-BE49-F238E27FC236}">
                  <a16:creationId xmlns:a16="http://schemas.microsoft.com/office/drawing/2014/main" id="{EEA9F985-FBC8-490A-9FFC-C9B07E4E6B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4" y="2653"/>
              <a:ext cx="528" cy="1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16">
              <a:extLst>
                <a:ext uri="{FF2B5EF4-FFF2-40B4-BE49-F238E27FC236}">
                  <a16:creationId xmlns:a16="http://schemas.microsoft.com/office/drawing/2014/main" id="{9BB44F0E-A29B-4ACB-A2BA-4CE060C62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0" y="863"/>
              <a:ext cx="663" cy="199"/>
            </a:xfrm>
            <a:custGeom>
              <a:avLst/>
              <a:gdLst>
                <a:gd name="T0" fmla="*/ 167 w 167"/>
                <a:gd name="T1" fmla="*/ 33 h 50"/>
                <a:gd name="T2" fmla="*/ 133 w 167"/>
                <a:gd name="T3" fmla="*/ 0 h 50"/>
                <a:gd name="T4" fmla="*/ 33 w 167"/>
                <a:gd name="T5" fmla="*/ 0 h 50"/>
                <a:gd name="T6" fmla="*/ 0 w 167"/>
                <a:gd name="T7" fmla="*/ 33 h 50"/>
                <a:gd name="T8" fmla="*/ 0 w 167"/>
                <a:gd name="T9" fmla="*/ 50 h 50"/>
                <a:gd name="T10" fmla="*/ 167 w 167"/>
                <a:gd name="T11" fmla="*/ 50 h 50"/>
                <a:gd name="T12" fmla="*/ 167 w 167"/>
                <a:gd name="T13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0">
                  <a:moveTo>
                    <a:pt x="167" y="33"/>
                  </a:moveTo>
                  <a:cubicBezTo>
                    <a:pt x="167" y="15"/>
                    <a:pt x="152" y="0"/>
                    <a:pt x="133" y="0"/>
                  </a:cubicBezTo>
                  <a:lnTo>
                    <a:pt x="33" y="0"/>
                  </a:lnTo>
                  <a:cubicBezTo>
                    <a:pt x="15" y="0"/>
                    <a:pt x="0" y="15"/>
                    <a:pt x="0" y="33"/>
                  </a:cubicBezTo>
                  <a:lnTo>
                    <a:pt x="0" y="50"/>
                  </a:lnTo>
                  <a:lnTo>
                    <a:pt x="167" y="50"/>
                  </a:lnTo>
                  <a:lnTo>
                    <a:pt x="167" y="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117">
              <a:extLst>
                <a:ext uri="{FF2B5EF4-FFF2-40B4-BE49-F238E27FC236}">
                  <a16:creationId xmlns:a16="http://schemas.microsoft.com/office/drawing/2014/main" id="{35A8B601-977E-4C10-93F1-4B810BC732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0" y="1261"/>
              <a:ext cx="663" cy="119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18">
              <a:extLst>
                <a:ext uri="{FF2B5EF4-FFF2-40B4-BE49-F238E27FC236}">
                  <a16:creationId xmlns:a16="http://schemas.microsoft.com/office/drawing/2014/main" id="{8151AD68-21D1-4C7F-8FB4-6C1F3E5870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4" y="1126"/>
              <a:ext cx="528" cy="198"/>
            </a:xfrm>
            <a:custGeom>
              <a:avLst/>
              <a:gdLst>
                <a:gd name="T0" fmla="*/ 133 w 133"/>
                <a:gd name="T1" fmla="*/ 34 h 50"/>
                <a:gd name="T2" fmla="*/ 100 w 133"/>
                <a:gd name="T3" fmla="*/ 0 h 50"/>
                <a:gd name="T4" fmla="*/ 33 w 133"/>
                <a:gd name="T5" fmla="*/ 0 h 50"/>
                <a:gd name="T6" fmla="*/ 0 w 133"/>
                <a:gd name="T7" fmla="*/ 34 h 50"/>
                <a:gd name="T8" fmla="*/ 0 w 133"/>
                <a:gd name="T9" fmla="*/ 50 h 50"/>
                <a:gd name="T10" fmla="*/ 133 w 133"/>
                <a:gd name="T11" fmla="*/ 50 h 50"/>
                <a:gd name="T12" fmla="*/ 133 w 133"/>
                <a:gd name="T13" fmla="*/ 3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" h="50">
                  <a:moveTo>
                    <a:pt x="133" y="34"/>
                  </a:moveTo>
                  <a:cubicBezTo>
                    <a:pt x="133" y="15"/>
                    <a:pt x="118" y="0"/>
                    <a:pt x="100" y="0"/>
                  </a:cubicBezTo>
                  <a:lnTo>
                    <a:pt x="33" y="0"/>
                  </a:lnTo>
                  <a:cubicBezTo>
                    <a:pt x="15" y="0"/>
                    <a:pt x="0" y="15"/>
                    <a:pt x="0" y="34"/>
                  </a:cubicBezTo>
                  <a:lnTo>
                    <a:pt x="0" y="50"/>
                  </a:lnTo>
                  <a:lnTo>
                    <a:pt x="133" y="50"/>
                  </a:lnTo>
                  <a:lnTo>
                    <a:pt x="133" y="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119">
              <a:extLst>
                <a:ext uri="{FF2B5EF4-FFF2-40B4-BE49-F238E27FC236}">
                  <a16:creationId xmlns:a16="http://schemas.microsoft.com/office/drawing/2014/main" id="{6855F433-37B8-4E6C-8B25-3F55EEF71D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4" y="1523"/>
              <a:ext cx="528" cy="9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120">
              <a:extLst>
                <a:ext uri="{FF2B5EF4-FFF2-40B4-BE49-F238E27FC236}">
                  <a16:creationId xmlns:a16="http://schemas.microsoft.com/office/drawing/2014/main" id="{074CC7A1-4643-4D89-ADA1-222F8FF797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0" y="2653"/>
              <a:ext cx="663" cy="1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21">
              <a:extLst>
                <a:ext uri="{FF2B5EF4-FFF2-40B4-BE49-F238E27FC236}">
                  <a16:creationId xmlns:a16="http://schemas.microsoft.com/office/drawing/2014/main" id="{8AB71617-DD8C-4640-9C8E-FE52FDAA7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7" y="1392"/>
              <a:ext cx="532" cy="199"/>
            </a:xfrm>
            <a:custGeom>
              <a:avLst/>
              <a:gdLst>
                <a:gd name="T0" fmla="*/ 134 w 134"/>
                <a:gd name="T1" fmla="*/ 33 h 50"/>
                <a:gd name="T2" fmla="*/ 100 w 134"/>
                <a:gd name="T3" fmla="*/ 0 h 50"/>
                <a:gd name="T4" fmla="*/ 34 w 134"/>
                <a:gd name="T5" fmla="*/ 0 h 50"/>
                <a:gd name="T6" fmla="*/ 0 w 134"/>
                <a:gd name="T7" fmla="*/ 33 h 50"/>
                <a:gd name="T8" fmla="*/ 0 w 134"/>
                <a:gd name="T9" fmla="*/ 50 h 50"/>
                <a:gd name="T10" fmla="*/ 134 w 134"/>
                <a:gd name="T11" fmla="*/ 50 h 50"/>
                <a:gd name="T12" fmla="*/ 134 w 134"/>
                <a:gd name="T13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50">
                  <a:moveTo>
                    <a:pt x="134" y="33"/>
                  </a:moveTo>
                  <a:cubicBezTo>
                    <a:pt x="134" y="15"/>
                    <a:pt x="119" y="0"/>
                    <a:pt x="100" y="0"/>
                  </a:cubicBezTo>
                  <a:lnTo>
                    <a:pt x="34" y="0"/>
                  </a:lnTo>
                  <a:cubicBezTo>
                    <a:pt x="15" y="0"/>
                    <a:pt x="0" y="15"/>
                    <a:pt x="0" y="33"/>
                  </a:cubicBezTo>
                  <a:lnTo>
                    <a:pt x="0" y="50"/>
                  </a:lnTo>
                  <a:lnTo>
                    <a:pt x="134" y="50"/>
                  </a:lnTo>
                  <a:lnTo>
                    <a:pt x="134" y="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122">
              <a:extLst>
                <a:ext uri="{FF2B5EF4-FFF2-40B4-BE49-F238E27FC236}">
                  <a16:creationId xmlns:a16="http://schemas.microsoft.com/office/drawing/2014/main" id="{7D711F59-DE88-4162-B439-22C5FDDD89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983"/>
              <a:ext cx="2648" cy="267"/>
            </a:xfrm>
            <a:custGeom>
              <a:avLst/>
              <a:gdLst>
                <a:gd name="T0" fmla="*/ 33 w 667"/>
                <a:gd name="T1" fmla="*/ 67 h 67"/>
                <a:gd name="T2" fmla="*/ 633 w 667"/>
                <a:gd name="T3" fmla="*/ 67 h 67"/>
                <a:gd name="T4" fmla="*/ 667 w 667"/>
                <a:gd name="T5" fmla="*/ 33 h 67"/>
                <a:gd name="T6" fmla="*/ 633 w 667"/>
                <a:gd name="T7" fmla="*/ 0 h 67"/>
                <a:gd name="T8" fmla="*/ 617 w 667"/>
                <a:gd name="T9" fmla="*/ 0 h 67"/>
                <a:gd name="T10" fmla="*/ 450 w 667"/>
                <a:gd name="T11" fmla="*/ 0 h 67"/>
                <a:gd name="T12" fmla="*/ 417 w 667"/>
                <a:gd name="T13" fmla="*/ 0 h 67"/>
                <a:gd name="T14" fmla="*/ 250 w 667"/>
                <a:gd name="T15" fmla="*/ 0 h 67"/>
                <a:gd name="T16" fmla="*/ 217 w 667"/>
                <a:gd name="T17" fmla="*/ 0 h 67"/>
                <a:gd name="T18" fmla="*/ 50 w 667"/>
                <a:gd name="T19" fmla="*/ 0 h 67"/>
                <a:gd name="T20" fmla="*/ 33 w 667"/>
                <a:gd name="T21" fmla="*/ 0 h 67"/>
                <a:gd name="T22" fmla="*/ 0 w 667"/>
                <a:gd name="T23" fmla="*/ 33 h 67"/>
                <a:gd name="T24" fmla="*/ 33 w 667"/>
                <a:gd name="T2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7" h="67">
                  <a:moveTo>
                    <a:pt x="33" y="67"/>
                  </a:moveTo>
                  <a:lnTo>
                    <a:pt x="633" y="67"/>
                  </a:lnTo>
                  <a:cubicBezTo>
                    <a:pt x="652" y="67"/>
                    <a:pt x="667" y="52"/>
                    <a:pt x="667" y="33"/>
                  </a:cubicBezTo>
                  <a:cubicBezTo>
                    <a:pt x="667" y="15"/>
                    <a:pt x="652" y="0"/>
                    <a:pt x="633" y="0"/>
                  </a:cubicBezTo>
                  <a:lnTo>
                    <a:pt x="617" y="0"/>
                  </a:lnTo>
                  <a:lnTo>
                    <a:pt x="450" y="0"/>
                  </a:lnTo>
                  <a:lnTo>
                    <a:pt x="417" y="0"/>
                  </a:lnTo>
                  <a:lnTo>
                    <a:pt x="250" y="0"/>
                  </a:lnTo>
                  <a:lnTo>
                    <a:pt x="217" y="0"/>
                  </a:lnTo>
                  <a:lnTo>
                    <a:pt x="50" y="0"/>
                  </a:lnTo>
                  <a:lnTo>
                    <a:pt x="33" y="0"/>
                  </a:lnTo>
                  <a:cubicBezTo>
                    <a:pt x="15" y="0"/>
                    <a:pt x="0" y="15"/>
                    <a:pt x="0" y="33"/>
                  </a:cubicBezTo>
                  <a:cubicBezTo>
                    <a:pt x="0" y="52"/>
                    <a:pt x="15" y="67"/>
                    <a:pt x="33" y="6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123">
              <a:extLst>
                <a:ext uri="{FF2B5EF4-FFF2-40B4-BE49-F238E27FC236}">
                  <a16:creationId xmlns:a16="http://schemas.microsoft.com/office/drawing/2014/main" id="{5BA3A232-AC7E-4B7C-8A8C-C44F264B01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7" y="1790"/>
              <a:ext cx="532" cy="66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 124">
              <a:extLst>
                <a:ext uri="{FF2B5EF4-FFF2-40B4-BE49-F238E27FC236}">
                  <a16:creationId xmlns:a16="http://schemas.microsoft.com/office/drawing/2014/main" id="{272E4F23-09E1-4DAF-8433-70E364D998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7" y="2653"/>
              <a:ext cx="532" cy="1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3" name="Data_target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C37F9BB-8215-4F13-A21B-487E5A16C44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7245" y="1600353"/>
            <a:ext cx="404960" cy="542925"/>
            <a:chOff x="7110413" y="2984500"/>
            <a:chExt cx="647700" cy="868363"/>
          </a:xfrm>
          <a:solidFill>
            <a:schemeClr val="accent1"/>
          </a:solidFill>
        </p:grpSpPr>
        <p:sp>
          <p:nvSpPr>
            <p:cNvPr id="34" name="Freeform 151">
              <a:extLst>
                <a:ext uri="{FF2B5EF4-FFF2-40B4-BE49-F238E27FC236}">
                  <a16:creationId xmlns:a16="http://schemas.microsoft.com/office/drawing/2014/main" id="{890BC93E-B999-4474-8C88-A7CDE9E32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8363" y="3114675"/>
              <a:ext cx="130175" cy="230188"/>
            </a:xfrm>
            <a:custGeom>
              <a:avLst/>
              <a:gdLst>
                <a:gd name="T0" fmla="*/ 33 w 183"/>
                <a:gd name="T1" fmla="*/ 21 h 324"/>
                <a:gd name="T2" fmla="*/ 33 w 183"/>
                <a:gd name="T3" fmla="*/ 220 h 324"/>
                <a:gd name="T4" fmla="*/ 0 w 183"/>
                <a:gd name="T5" fmla="*/ 270 h 324"/>
                <a:gd name="T6" fmla="*/ 54 w 183"/>
                <a:gd name="T7" fmla="*/ 324 h 324"/>
                <a:gd name="T8" fmla="*/ 108 w 183"/>
                <a:gd name="T9" fmla="*/ 270 h 324"/>
                <a:gd name="T10" fmla="*/ 75 w 183"/>
                <a:gd name="T11" fmla="*/ 220 h 324"/>
                <a:gd name="T12" fmla="*/ 75 w 183"/>
                <a:gd name="T13" fmla="*/ 42 h 324"/>
                <a:gd name="T14" fmla="*/ 174 w 183"/>
                <a:gd name="T15" fmla="*/ 42 h 324"/>
                <a:gd name="T16" fmla="*/ 183 w 183"/>
                <a:gd name="T17" fmla="*/ 0 h 324"/>
                <a:gd name="T18" fmla="*/ 54 w 183"/>
                <a:gd name="T19" fmla="*/ 0 h 324"/>
                <a:gd name="T20" fmla="*/ 33 w 183"/>
                <a:gd name="T21" fmla="*/ 21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3" h="324">
                  <a:moveTo>
                    <a:pt x="33" y="21"/>
                  </a:moveTo>
                  <a:lnTo>
                    <a:pt x="33" y="220"/>
                  </a:lnTo>
                  <a:cubicBezTo>
                    <a:pt x="13" y="228"/>
                    <a:pt x="0" y="247"/>
                    <a:pt x="0" y="270"/>
                  </a:cubicBezTo>
                  <a:cubicBezTo>
                    <a:pt x="0" y="300"/>
                    <a:pt x="24" y="324"/>
                    <a:pt x="54" y="324"/>
                  </a:cubicBezTo>
                  <a:cubicBezTo>
                    <a:pt x="83" y="324"/>
                    <a:pt x="108" y="300"/>
                    <a:pt x="108" y="270"/>
                  </a:cubicBezTo>
                  <a:cubicBezTo>
                    <a:pt x="108" y="248"/>
                    <a:pt x="94" y="229"/>
                    <a:pt x="75" y="220"/>
                  </a:cubicBezTo>
                  <a:lnTo>
                    <a:pt x="75" y="42"/>
                  </a:lnTo>
                  <a:lnTo>
                    <a:pt x="174" y="42"/>
                  </a:lnTo>
                  <a:cubicBezTo>
                    <a:pt x="175" y="27"/>
                    <a:pt x="178" y="13"/>
                    <a:pt x="183" y="0"/>
                  </a:cubicBezTo>
                  <a:lnTo>
                    <a:pt x="54" y="0"/>
                  </a:lnTo>
                  <a:cubicBezTo>
                    <a:pt x="42" y="0"/>
                    <a:pt x="33" y="9"/>
                    <a:pt x="33" y="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152">
              <a:extLst>
                <a:ext uri="{FF2B5EF4-FFF2-40B4-BE49-F238E27FC236}">
                  <a16:creationId xmlns:a16="http://schemas.microsoft.com/office/drawing/2014/main" id="{C311FDB7-FA39-4E15-A10D-4D41D97FA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6338" y="3092450"/>
              <a:ext cx="153988" cy="74613"/>
            </a:xfrm>
            <a:custGeom>
              <a:avLst/>
              <a:gdLst>
                <a:gd name="T0" fmla="*/ 115 w 216"/>
                <a:gd name="T1" fmla="*/ 74 h 106"/>
                <a:gd name="T2" fmla="*/ 163 w 216"/>
                <a:gd name="T3" fmla="*/ 106 h 106"/>
                <a:gd name="T4" fmla="*/ 216 w 216"/>
                <a:gd name="T5" fmla="*/ 53 h 106"/>
                <a:gd name="T6" fmla="*/ 163 w 216"/>
                <a:gd name="T7" fmla="*/ 0 h 106"/>
                <a:gd name="T8" fmla="*/ 115 w 216"/>
                <a:gd name="T9" fmla="*/ 32 h 106"/>
                <a:gd name="T10" fmla="*/ 0 w 216"/>
                <a:gd name="T11" fmla="*/ 32 h 106"/>
                <a:gd name="T12" fmla="*/ 9 w 216"/>
                <a:gd name="T13" fmla="*/ 74 h 106"/>
                <a:gd name="T14" fmla="*/ 115 w 216"/>
                <a:gd name="T15" fmla="*/ 7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6" h="106">
                  <a:moveTo>
                    <a:pt x="115" y="74"/>
                  </a:moveTo>
                  <a:cubicBezTo>
                    <a:pt x="123" y="94"/>
                    <a:pt x="142" y="106"/>
                    <a:pt x="163" y="106"/>
                  </a:cubicBezTo>
                  <a:cubicBezTo>
                    <a:pt x="193" y="106"/>
                    <a:pt x="216" y="82"/>
                    <a:pt x="216" y="53"/>
                  </a:cubicBezTo>
                  <a:cubicBezTo>
                    <a:pt x="216" y="24"/>
                    <a:pt x="193" y="0"/>
                    <a:pt x="163" y="0"/>
                  </a:cubicBezTo>
                  <a:cubicBezTo>
                    <a:pt x="142" y="0"/>
                    <a:pt x="123" y="13"/>
                    <a:pt x="115" y="32"/>
                  </a:cubicBezTo>
                  <a:lnTo>
                    <a:pt x="0" y="32"/>
                  </a:lnTo>
                  <a:cubicBezTo>
                    <a:pt x="5" y="45"/>
                    <a:pt x="8" y="59"/>
                    <a:pt x="9" y="74"/>
                  </a:cubicBezTo>
                  <a:lnTo>
                    <a:pt x="115" y="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153">
              <a:extLst>
                <a:ext uri="{FF2B5EF4-FFF2-40B4-BE49-F238E27FC236}">
                  <a16:creationId xmlns:a16="http://schemas.microsoft.com/office/drawing/2014/main" id="{63F6B7A7-2D5C-4915-BDD1-0AAFF48FF6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3488" y="3348038"/>
              <a:ext cx="142875" cy="96838"/>
            </a:xfrm>
            <a:custGeom>
              <a:avLst/>
              <a:gdLst>
                <a:gd name="T0" fmla="*/ 131 w 200"/>
                <a:gd name="T1" fmla="*/ 40 h 138"/>
                <a:gd name="T2" fmla="*/ 159 w 200"/>
                <a:gd name="T3" fmla="*/ 69 h 138"/>
                <a:gd name="T4" fmla="*/ 131 w 200"/>
                <a:gd name="T5" fmla="*/ 98 h 138"/>
                <a:gd name="T6" fmla="*/ 102 w 200"/>
                <a:gd name="T7" fmla="*/ 69 h 138"/>
                <a:gd name="T8" fmla="*/ 131 w 200"/>
                <a:gd name="T9" fmla="*/ 40 h 138"/>
                <a:gd name="T10" fmla="*/ 131 w 200"/>
                <a:gd name="T11" fmla="*/ 138 h 138"/>
                <a:gd name="T12" fmla="*/ 200 w 200"/>
                <a:gd name="T13" fmla="*/ 69 h 138"/>
                <a:gd name="T14" fmla="*/ 131 w 200"/>
                <a:gd name="T15" fmla="*/ 0 h 138"/>
                <a:gd name="T16" fmla="*/ 65 w 200"/>
                <a:gd name="T17" fmla="*/ 46 h 138"/>
                <a:gd name="T18" fmla="*/ 0 w 200"/>
                <a:gd name="T19" fmla="*/ 46 h 138"/>
                <a:gd name="T20" fmla="*/ 0 w 200"/>
                <a:gd name="T21" fmla="*/ 89 h 138"/>
                <a:gd name="T22" fmla="*/ 64 w 200"/>
                <a:gd name="T23" fmla="*/ 89 h 138"/>
                <a:gd name="T24" fmla="*/ 131 w 200"/>
                <a:gd name="T2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0" h="138">
                  <a:moveTo>
                    <a:pt x="131" y="40"/>
                  </a:moveTo>
                  <a:cubicBezTo>
                    <a:pt x="146" y="40"/>
                    <a:pt x="159" y="53"/>
                    <a:pt x="159" y="69"/>
                  </a:cubicBezTo>
                  <a:cubicBezTo>
                    <a:pt x="159" y="85"/>
                    <a:pt x="146" y="98"/>
                    <a:pt x="131" y="98"/>
                  </a:cubicBezTo>
                  <a:cubicBezTo>
                    <a:pt x="115" y="98"/>
                    <a:pt x="102" y="85"/>
                    <a:pt x="102" y="69"/>
                  </a:cubicBezTo>
                  <a:cubicBezTo>
                    <a:pt x="102" y="53"/>
                    <a:pt x="115" y="40"/>
                    <a:pt x="131" y="40"/>
                  </a:cubicBezTo>
                  <a:close/>
                  <a:moveTo>
                    <a:pt x="131" y="138"/>
                  </a:moveTo>
                  <a:cubicBezTo>
                    <a:pt x="169" y="138"/>
                    <a:pt x="200" y="107"/>
                    <a:pt x="200" y="69"/>
                  </a:cubicBezTo>
                  <a:cubicBezTo>
                    <a:pt x="200" y="31"/>
                    <a:pt x="169" y="0"/>
                    <a:pt x="131" y="0"/>
                  </a:cubicBezTo>
                  <a:cubicBezTo>
                    <a:pt x="101" y="0"/>
                    <a:pt x="75" y="18"/>
                    <a:pt x="65" y="46"/>
                  </a:cubicBezTo>
                  <a:lnTo>
                    <a:pt x="0" y="46"/>
                  </a:lnTo>
                  <a:lnTo>
                    <a:pt x="0" y="89"/>
                  </a:lnTo>
                  <a:lnTo>
                    <a:pt x="64" y="89"/>
                  </a:lnTo>
                  <a:cubicBezTo>
                    <a:pt x="73" y="118"/>
                    <a:pt x="100" y="138"/>
                    <a:pt x="131" y="1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154">
              <a:extLst>
                <a:ext uri="{FF2B5EF4-FFF2-40B4-BE49-F238E27FC236}">
                  <a16:creationId xmlns:a16="http://schemas.microsoft.com/office/drawing/2014/main" id="{8722413A-A2B7-404D-9DCB-E608523CFC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0413" y="3155950"/>
              <a:ext cx="179388" cy="255588"/>
            </a:xfrm>
            <a:custGeom>
              <a:avLst/>
              <a:gdLst>
                <a:gd name="T0" fmla="*/ 40 w 252"/>
                <a:gd name="T1" fmla="*/ 69 h 357"/>
                <a:gd name="T2" fmla="*/ 69 w 252"/>
                <a:gd name="T3" fmla="*/ 41 h 357"/>
                <a:gd name="T4" fmla="*/ 97 w 252"/>
                <a:gd name="T5" fmla="*/ 69 h 357"/>
                <a:gd name="T6" fmla="*/ 69 w 252"/>
                <a:gd name="T7" fmla="*/ 98 h 357"/>
                <a:gd name="T8" fmla="*/ 40 w 252"/>
                <a:gd name="T9" fmla="*/ 69 h 357"/>
                <a:gd name="T10" fmla="*/ 47 w 252"/>
                <a:gd name="T11" fmla="*/ 335 h 357"/>
                <a:gd name="T12" fmla="*/ 69 w 252"/>
                <a:gd name="T13" fmla="*/ 357 h 357"/>
                <a:gd name="T14" fmla="*/ 252 w 252"/>
                <a:gd name="T15" fmla="*/ 357 h 357"/>
                <a:gd name="T16" fmla="*/ 252 w 252"/>
                <a:gd name="T17" fmla="*/ 314 h 357"/>
                <a:gd name="T18" fmla="*/ 90 w 252"/>
                <a:gd name="T19" fmla="*/ 314 h 357"/>
                <a:gd name="T20" fmla="*/ 90 w 252"/>
                <a:gd name="T21" fmla="*/ 135 h 357"/>
                <a:gd name="T22" fmla="*/ 138 w 252"/>
                <a:gd name="T23" fmla="*/ 69 h 357"/>
                <a:gd name="T24" fmla="*/ 69 w 252"/>
                <a:gd name="T25" fmla="*/ 0 h 357"/>
                <a:gd name="T26" fmla="*/ 0 w 252"/>
                <a:gd name="T27" fmla="*/ 69 h 357"/>
                <a:gd name="T28" fmla="*/ 47 w 252"/>
                <a:gd name="T29" fmla="*/ 135 h 357"/>
                <a:gd name="T30" fmla="*/ 47 w 252"/>
                <a:gd name="T31" fmla="*/ 335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2" h="357">
                  <a:moveTo>
                    <a:pt x="40" y="69"/>
                  </a:moveTo>
                  <a:cubicBezTo>
                    <a:pt x="40" y="53"/>
                    <a:pt x="53" y="41"/>
                    <a:pt x="69" y="41"/>
                  </a:cubicBezTo>
                  <a:cubicBezTo>
                    <a:pt x="85" y="41"/>
                    <a:pt x="97" y="53"/>
                    <a:pt x="97" y="69"/>
                  </a:cubicBezTo>
                  <a:cubicBezTo>
                    <a:pt x="97" y="85"/>
                    <a:pt x="85" y="98"/>
                    <a:pt x="69" y="98"/>
                  </a:cubicBezTo>
                  <a:cubicBezTo>
                    <a:pt x="53" y="98"/>
                    <a:pt x="40" y="85"/>
                    <a:pt x="40" y="69"/>
                  </a:cubicBezTo>
                  <a:close/>
                  <a:moveTo>
                    <a:pt x="47" y="335"/>
                  </a:moveTo>
                  <a:cubicBezTo>
                    <a:pt x="47" y="347"/>
                    <a:pt x="57" y="357"/>
                    <a:pt x="69" y="357"/>
                  </a:cubicBezTo>
                  <a:lnTo>
                    <a:pt x="252" y="357"/>
                  </a:lnTo>
                  <a:lnTo>
                    <a:pt x="252" y="314"/>
                  </a:lnTo>
                  <a:lnTo>
                    <a:pt x="90" y="314"/>
                  </a:lnTo>
                  <a:lnTo>
                    <a:pt x="90" y="135"/>
                  </a:lnTo>
                  <a:cubicBezTo>
                    <a:pt x="118" y="126"/>
                    <a:pt x="138" y="99"/>
                    <a:pt x="138" y="69"/>
                  </a:cubicBezTo>
                  <a:cubicBezTo>
                    <a:pt x="138" y="31"/>
                    <a:pt x="107" y="0"/>
                    <a:pt x="69" y="0"/>
                  </a:cubicBezTo>
                  <a:cubicBezTo>
                    <a:pt x="31" y="0"/>
                    <a:pt x="0" y="31"/>
                    <a:pt x="0" y="69"/>
                  </a:cubicBezTo>
                  <a:cubicBezTo>
                    <a:pt x="0" y="99"/>
                    <a:pt x="19" y="126"/>
                    <a:pt x="47" y="135"/>
                  </a:cubicBezTo>
                  <a:lnTo>
                    <a:pt x="47" y="335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155">
              <a:extLst>
                <a:ext uri="{FF2B5EF4-FFF2-40B4-BE49-F238E27FC236}">
                  <a16:creationId xmlns:a16="http://schemas.microsoft.com/office/drawing/2014/main" id="{EB2DD74D-BDFD-44E6-8FDB-DAEE5BF714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77088" y="2984500"/>
              <a:ext cx="581025" cy="336550"/>
            </a:xfrm>
            <a:custGeom>
              <a:avLst/>
              <a:gdLst>
                <a:gd name="T0" fmla="*/ 632 w 815"/>
                <a:gd name="T1" fmla="*/ 433 h 474"/>
                <a:gd name="T2" fmla="*/ 603 w 815"/>
                <a:gd name="T3" fmla="*/ 405 h 474"/>
                <a:gd name="T4" fmla="*/ 632 w 815"/>
                <a:gd name="T5" fmla="*/ 376 h 474"/>
                <a:gd name="T6" fmla="*/ 661 w 815"/>
                <a:gd name="T7" fmla="*/ 405 h 474"/>
                <a:gd name="T8" fmla="*/ 632 w 815"/>
                <a:gd name="T9" fmla="*/ 433 h 474"/>
                <a:gd name="T10" fmla="*/ 69 w 815"/>
                <a:gd name="T11" fmla="*/ 98 h 474"/>
                <a:gd name="T12" fmla="*/ 41 w 815"/>
                <a:gd name="T13" fmla="*/ 70 h 474"/>
                <a:gd name="T14" fmla="*/ 69 w 815"/>
                <a:gd name="T15" fmla="*/ 41 h 474"/>
                <a:gd name="T16" fmla="*/ 98 w 815"/>
                <a:gd name="T17" fmla="*/ 70 h 474"/>
                <a:gd name="T18" fmla="*/ 69 w 815"/>
                <a:gd name="T19" fmla="*/ 98 h 474"/>
                <a:gd name="T20" fmla="*/ 794 w 815"/>
                <a:gd name="T21" fmla="*/ 48 h 474"/>
                <a:gd name="T22" fmla="*/ 135 w 815"/>
                <a:gd name="T23" fmla="*/ 48 h 474"/>
                <a:gd name="T24" fmla="*/ 69 w 815"/>
                <a:gd name="T25" fmla="*/ 0 h 474"/>
                <a:gd name="T26" fmla="*/ 0 w 815"/>
                <a:gd name="T27" fmla="*/ 70 h 474"/>
                <a:gd name="T28" fmla="*/ 69 w 815"/>
                <a:gd name="T29" fmla="*/ 139 h 474"/>
                <a:gd name="T30" fmla="*/ 135 w 815"/>
                <a:gd name="T31" fmla="*/ 91 h 474"/>
                <a:gd name="T32" fmla="*/ 772 w 815"/>
                <a:gd name="T33" fmla="*/ 91 h 474"/>
                <a:gd name="T34" fmla="*/ 772 w 815"/>
                <a:gd name="T35" fmla="*/ 383 h 474"/>
                <a:gd name="T36" fmla="*/ 698 w 815"/>
                <a:gd name="T37" fmla="*/ 383 h 474"/>
                <a:gd name="T38" fmla="*/ 632 w 815"/>
                <a:gd name="T39" fmla="*/ 335 h 474"/>
                <a:gd name="T40" fmla="*/ 563 w 815"/>
                <a:gd name="T41" fmla="*/ 405 h 474"/>
                <a:gd name="T42" fmla="*/ 632 w 815"/>
                <a:gd name="T43" fmla="*/ 474 h 474"/>
                <a:gd name="T44" fmla="*/ 698 w 815"/>
                <a:gd name="T45" fmla="*/ 426 h 474"/>
                <a:gd name="T46" fmla="*/ 794 w 815"/>
                <a:gd name="T47" fmla="*/ 426 h 474"/>
                <a:gd name="T48" fmla="*/ 815 w 815"/>
                <a:gd name="T49" fmla="*/ 405 h 474"/>
                <a:gd name="T50" fmla="*/ 815 w 815"/>
                <a:gd name="T51" fmla="*/ 70 h 474"/>
                <a:gd name="T52" fmla="*/ 794 w 815"/>
                <a:gd name="T53" fmla="*/ 48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15" h="474">
                  <a:moveTo>
                    <a:pt x="632" y="433"/>
                  </a:moveTo>
                  <a:cubicBezTo>
                    <a:pt x="616" y="433"/>
                    <a:pt x="603" y="421"/>
                    <a:pt x="603" y="405"/>
                  </a:cubicBezTo>
                  <a:cubicBezTo>
                    <a:pt x="603" y="389"/>
                    <a:pt x="616" y="376"/>
                    <a:pt x="632" y="376"/>
                  </a:cubicBezTo>
                  <a:cubicBezTo>
                    <a:pt x="648" y="376"/>
                    <a:pt x="661" y="389"/>
                    <a:pt x="661" y="405"/>
                  </a:cubicBezTo>
                  <a:cubicBezTo>
                    <a:pt x="661" y="421"/>
                    <a:pt x="648" y="433"/>
                    <a:pt x="632" y="433"/>
                  </a:cubicBezTo>
                  <a:close/>
                  <a:moveTo>
                    <a:pt x="69" y="98"/>
                  </a:moveTo>
                  <a:cubicBezTo>
                    <a:pt x="54" y="98"/>
                    <a:pt x="41" y="86"/>
                    <a:pt x="41" y="70"/>
                  </a:cubicBezTo>
                  <a:cubicBezTo>
                    <a:pt x="41" y="54"/>
                    <a:pt x="54" y="41"/>
                    <a:pt x="69" y="41"/>
                  </a:cubicBezTo>
                  <a:cubicBezTo>
                    <a:pt x="85" y="41"/>
                    <a:pt x="98" y="54"/>
                    <a:pt x="98" y="70"/>
                  </a:cubicBezTo>
                  <a:cubicBezTo>
                    <a:pt x="98" y="86"/>
                    <a:pt x="85" y="98"/>
                    <a:pt x="69" y="98"/>
                  </a:cubicBezTo>
                  <a:close/>
                  <a:moveTo>
                    <a:pt x="794" y="48"/>
                  </a:moveTo>
                  <a:lnTo>
                    <a:pt x="135" y="48"/>
                  </a:lnTo>
                  <a:cubicBezTo>
                    <a:pt x="126" y="20"/>
                    <a:pt x="99" y="0"/>
                    <a:pt x="69" y="0"/>
                  </a:cubicBezTo>
                  <a:cubicBezTo>
                    <a:pt x="31" y="0"/>
                    <a:pt x="0" y="32"/>
                    <a:pt x="0" y="70"/>
                  </a:cubicBezTo>
                  <a:cubicBezTo>
                    <a:pt x="0" y="108"/>
                    <a:pt x="31" y="139"/>
                    <a:pt x="69" y="139"/>
                  </a:cubicBezTo>
                  <a:cubicBezTo>
                    <a:pt x="99" y="139"/>
                    <a:pt x="126" y="119"/>
                    <a:pt x="135" y="91"/>
                  </a:cubicBezTo>
                  <a:lnTo>
                    <a:pt x="772" y="91"/>
                  </a:lnTo>
                  <a:lnTo>
                    <a:pt x="772" y="383"/>
                  </a:lnTo>
                  <a:lnTo>
                    <a:pt x="698" y="383"/>
                  </a:lnTo>
                  <a:cubicBezTo>
                    <a:pt x="689" y="355"/>
                    <a:pt x="662" y="335"/>
                    <a:pt x="632" y="335"/>
                  </a:cubicBezTo>
                  <a:cubicBezTo>
                    <a:pt x="594" y="335"/>
                    <a:pt x="563" y="367"/>
                    <a:pt x="563" y="405"/>
                  </a:cubicBezTo>
                  <a:cubicBezTo>
                    <a:pt x="563" y="439"/>
                    <a:pt x="591" y="474"/>
                    <a:pt x="632" y="474"/>
                  </a:cubicBezTo>
                  <a:cubicBezTo>
                    <a:pt x="662" y="474"/>
                    <a:pt x="689" y="454"/>
                    <a:pt x="698" y="426"/>
                  </a:cubicBezTo>
                  <a:lnTo>
                    <a:pt x="794" y="426"/>
                  </a:lnTo>
                  <a:cubicBezTo>
                    <a:pt x="806" y="426"/>
                    <a:pt x="815" y="417"/>
                    <a:pt x="815" y="405"/>
                  </a:cubicBezTo>
                  <a:lnTo>
                    <a:pt x="815" y="70"/>
                  </a:lnTo>
                  <a:cubicBezTo>
                    <a:pt x="815" y="58"/>
                    <a:pt x="806" y="48"/>
                    <a:pt x="794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56">
              <a:extLst>
                <a:ext uri="{FF2B5EF4-FFF2-40B4-BE49-F238E27FC236}">
                  <a16:creationId xmlns:a16="http://schemas.microsoft.com/office/drawing/2014/main" id="{70DAFBCA-7FF3-4B25-A46E-9C6B845DD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1063" y="3576638"/>
              <a:ext cx="406400" cy="200025"/>
            </a:xfrm>
            <a:custGeom>
              <a:avLst/>
              <a:gdLst>
                <a:gd name="T0" fmla="*/ 132 w 573"/>
                <a:gd name="T1" fmla="*/ 49 h 282"/>
                <a:gd name="T2" fmla="*/ 132 w 573"/>
                <a:gd name="T3" fmla="*/ 0 h 282"/>
                <a:gd name="T4" fmla="*/ 0 w 573"/>
                <a:gd name="T5" fmla="*/ 129 h 282"/>
                <a:gd name="T6" fmla="*/ 286 w 573"/>
                <a:gd name="T7" fmla="*/ 282 h 282"/>
                <a:gd name="T8" fmla="*/ 573 w 573"/>
                <a:gd name="T9" fmla="*/ 129 h 282"/>
                <a:gd name="T10" fmla="*/ 454 w 573"/>
                <a:gd name="T11" fmla="*/ 5 h 282"/>
                <a:gd name="T12" fmla="*/ 454 w 573"/>
                <a:gd name="T13" fmla="*/ 54 h 282"/>
                <a:gd name="T14" fmla="*/ 527 w 573"/>
                <a:gd name="T15" fmla="*/ 129 h 282"/>
                <a:gd name="T16" fmla="*/ 286 w 573"/>
                <a:gd name="T17" fmla="*/ 236 h 282"/>
                <a:gd name="T18" fmla="*/ 46 w 573"/>
                <a:gd name="T19" fmla="*/ 129 h 282"/>
                <a:gd name="T20" fmla="*/ 132 w 573"/>
                <a:gd name="T21" fmla="*/ 49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3" h="282">
                  <a:moveTo>
                    <a:pt x="132" y="49"/>
                  </a:moveTo>
                  <a:lnTo>
                    <a:pt x="132" y="0"/>
                  </a:lnTo>
                  <a:cubicBezTo>
                    <a:pt x="52" y="27"/>
                    <a:pt x="0" y="74"/>
                    <a:pt x="0" y="129"/>
                  </a:cubicBezTo>
                  <a:cubicBezTo>
                    <a:pt x="0" y="215"/>
                    <a:pt x="126" y="282"/>
                    <a:pt x="286" y="282"/>
                  </a:cubicBezTo>
                  <a:cubicBezTo>
                    <a:pt x="447" y="282"/>
                    <a:pt x="573" y="215"/>
                    <a:pt x="573" y="129"/>
                  </a:cubicBezTo>
                  <a:cubicBezTo>
                    <a:pt x="573" y="77"/>
                    <a:pt x="526" y="32"/>
                    <a:pt x="454" y="5"/>
                  </a:cubicBezTo>
                  <a:lnTo>
                    <a:pt x="454" y="54"/>
                  </a:lnTo>
                  <a:cubicBezTo>
                    <a:pt x="500" y="75"/>
                    <a:pt x="527" y="103"/>
                    <a:pt x="527" y="129"/>
                  </a:cubicBezTo>
                  <a:cubicBezTo>
                    <a:pt x="527" y="180"/>
                    <a:pt x="428" y="236"/>
                    <a:pt x="286" y="236"/>
                  </a:cubicBezTo>
                  <a:cubicBezTo>
                    <a:pt x="145" y="236"/>
                    <a:pt x="46" y="180"/>
                    <a:pt x="46" y="129"/>
                  </a:cubicBezTo>
                  <a:cubicBezTo>
                    <a:pt x="46" y="100"/>
                    <a:pt x="78" y="70"/>
                    <a:pt x="132" y="4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Oval 157">
              <a:extLst>
                <a:ext uri="{FF2B5EF4-FFF2-40B4-BE49-F238E27FC236}">
                  <a16:creationId xmlns:a16="http://schemas.microsoft.com/office/drawing/2014/main" id="{F7F2B66E-0948-4073-94DB-FD1C83F667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0763" y="3082925"/>
              <a:ext cx="131763" cy="13176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58">
              <a:extLst>
                <a:ext uri="{FF2B5EF4-FFF2-40B4-BE49-F238E27FC236}">
                  <a16:creationId xmlns:a16="http://schemas.microsoft.com/office/drawing/2014/main" id="{0A8A5D71-26A9-4B81-8D03-D8CA02D63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1050" y="3502025"/>
              <a:ext cx="606425" cy="350838"/>
            </a:xfrm>
            <a:custGeom>
              <a:avLst/>
              <a:gdLst>
                <a:gd name="T0" fmla="*/ 594 w 852"/>
                <a:gd name="T1" fmla="*/ 3 h 493"/>
                <a:gd name="T2" fmla="*/ 594 w 852"/>
                <a:gd name="T3" fmla="*/ 51 h 493"/>
                <a:gd name="T4" fmla="*/ 807 w 852"/>
                <a:gd name="T5" fmla="*/ 238 h 493"/>
                <a:gd name="T6" fmla="*/ 426 w 852"/>
                <a:gd name="T7" fmla="*/ 448 h 493"/>
                <a:gd name="T8" fmla="*/ 46 w 852"/>
                <a:gd name="T9" fmla="*/ 238 h 493"/>
                <a:gd name="T10" fmla="*/ 272 w 852"/>
                <a:gd name="T11" fmla="*/ 48 h 493"/>
                <a:gd name="T12" fmla="*/ 272 w 852"/>
                <a:gd name="T13" fmla="*/ 0 h 493"/>
                <a:gd name="T14" fmla="*/ 0 w 852"/>
                <a:gd name="T15" fmla="*/ 238 h 493"/>
                <a:gd name="T16" fmla="*/ 426 w 852"/>
                <a:gd name="T17" fmla="*/ 493 h 493"/>
                <a:gd name="T18" fmla="*/ 852 w 852"/>
                <a:gd name="T19" fmla="*/ 238 h 493"/>
                <a:gd name="T20" fmla="*/ 594 w 852"/>
                <a:gd name="T21" fmla="*/ 3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2" h="493">
                  <a:moveTo>
                    <a:pt x="594" y="3"/>
                  </a:moveTo>
                  <a:lnTo>
                    <a:pt x="594" y="51"/>
                  </a:lnTo>
                  <a:cubicBezTo>
                    <a:pt x="719" y="86"/>
                    <a:pt x="807" y="158"/>
                    <a:pt x="807" y="238"/>
                  </a:cubicBezTo>
                  <a:cubicBezTo>
                    <a:pt x="807" y="352"/>
                    <a:pt x="632" y="448"/>
                    <a:pt x="426" y="448"/>
                  </a:cubicBezTo>
                  <a:cubicBezTo>
                    <a:pt x="220" y="448"/>
                    <a:pt x="46" y="352"/>
                    <a:pt x="46" y="238"/>
                  </a:cubicBezTo>
                  <a:cubicBezTo>
                    <a:pt x="46" y="155"/>
                    <a:pt x="140" y="81"/>
                    <a:pt x="272" y="48"/>
                  </a:cubicBezTo>
                  <a:lnTo>
                    <a:pt x="272" y="0"/>
                  </a:lnTo>
                  <a:cubicBezTo>
                    <a:pt x="111" y="36"/>
                    <a:pt x="0" y="128"/>
                    <a:pt x="0" y="238"/>
                  </a:cubicBezTo>
                  <a:cubicBezTo>
                    <a:pt x="0" y="381"/>
                    <a:pt x="187" y="493"/>
                    <a:pt x="426" y="493"/>
                  </a:cubicBezTo>
                  <a:cubicBezTo>
                    <a:pt x="665" y="493"/>
                    <a:pt x="852" y="381"/>
                    <a:pt x="852" y="238"/>
                  </a:cubicBezTo>
                  <a:cubicBezTo>
                    <a:pt x="852" y="131"/>
                    <a:pt x="747" y="41"/>
                    <a:pt x="594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159">
              <a:extLst>
                <a:ext uri="{FF2B5EF4-FFF2-40B4-BE49-F238E27FC236}">
                  <a16:creationId xmlns:a16="http://schemas.microsoft.com/office/drawing/2014/main" id="{3D666C4D-0B80-4408-993C-C3A15B20BA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19963" y="3232150"/>
              <a:ext cx="234950" cy="485775"/>
            </a:xfrm>
            <a:custGeom>
              <a:avLst/>
              <a:gdLst>
                <a:gd name="T0" fmla="*/ 142 w 330"/>
                <a:gd name="T1" fmla="*/ 372 h 682"/>
                <a:gd name="T2" fmla="*/ 161 w 330"/>
                <a:gd name="T3" fmla="*/ 352 h 682"/>
                <a:gd name="T4" fmla="*/ 180 w 330"/>
                <a:gd name="T5" fmla="*/ 372 h 682"/>
                <a:gd name="T6" fmla="*/ 180 w 330"/>
                <a:gd name="T7" fmla="*/ 536 h 682"/>
                <a:gd name="T8" fmla="*/ 158 w 330"/>
                <a:gd name="T9" fmla="*/ 535 h 682"/>
                <a:gd name="T10" fmla="*/ 142 w 330"/>
                <a:gd name="T11" fmla="*/ 536 h 682"/>
                <a:gd name="T12" fmla="*/ 142 w 330"/>
                <a:gd name="T13" fmla="*/ 372 h 682"/>
                <a:gd name="T14" fmla="*/ 0 w 330"/>
                <a:gd name="T15" fmla="*/ 127 h 682"/>
                <a:gd name="T16" fmla="*/ 1 w 330"/>
                <a:gd name="T17" fmla="*/ 296 h 682"/>
                <a:gd name="T18" fmla="*/ 55 w 330"/>
                <a:gd name="T19" fmla="*/ 345 h 682"/>
                <a:gd name="T20" fmla="*/ 55 w 330"/>
                <a:gd name="T21" fmla="*/ 557 h 682"/>
                <a:gd name="T22" fmla="*/ 56 w 330"/>
                <a:gd name="T23" fmla="*/ 557 h 682"/>
                <a:gd name="T24" fmla="*/ 12 w 330"/>
                <a:gd name="T25" fmla="*/ 608 h 682"/>
                <a:gd name="T26" fmla="*/ 163 w 330"/>
                <a:gd name="T27" fmla="*/ 682 h 682"/>
                <a:gd name="T28" fmla="*/ 313 w 330"/>
                <a:gd name="T29" fmla="*/ 608 h 682"/>
                <a:gd name="T30" fmla="*/ 274 w 330"/>
                <a:gd name="T31" fmla="*/ 559 h 682"/>
                <a:gd name="T32" fmla="*/ 275 w 330"/>
                <a:gd name="T33" fmla="*/ 344 h 682"/>
                <a:gd name="T34" fmla="*/ 330 w 330"/>
                <a:gd name="T35" fmla="*/ 296 h 682"/>
                <a:gd name="T36" fmla="*/ 330 w 330"/>
                <a:gd name="T37" fmla="*/ 127 h 682"/>
                <a:gd name="T38" fmla="*/ 225 w 330"/>
                <a:gd name="T39" fmla="*/ 1 h 682"/>
                <a:gd name="T40" fmla="*/ 106 w 330"/>
                <a:gd name="T41" fmla="*/ 0 h 682"/>
                <a:gd name="T42" fmla="*/ 0 w 330"/>
                <a:gd name="T43" fmla="*/ 127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0" h="682">
                  <a:moveTo>
                    <a:pt x="142" y="372"/>
                  </a:moveTo>
                  <a:cubicBezTo>
                    <a:pt x="142" y="361"/>
                    <a:pt x="151" y="352"/>
                    <a:pt x="161" y="352"/>
                  </a:cubicBezTo>
                  <a:cubicBezTo>
                    <a:pt x="172" y="352"/>
                    <a:pt x="180" y="361"/>
                    <a:pt x="180" y="372"/>
                  </a:cubicBezTo>
                  <a:lnTo>
                    <a:pt x="180" y="536"/>
                  </a:lnTo>
                  <a:cubicBezTo>
                    <a:pt x="176" y="535"/>
                    <a:pt x="167" y="535"/>
                    <a:pt x="158" y="535"/>
                  </a:cubicBezTo>
                  <a:cubicBezTo>
                    <a:pt x="152" y="535"/>
                    <a:pt x="146" y="535"/>
                    <a:pt x="142" y="536"/>
                  </a:cubicBezTo>
                  <a:lnTo>
                    <a:pt x="142" y="372"/>
                  </a:lnTo>
                  <a:close/>
                  <a:moveTo>
                    <a:pt x="0" y="127"/>
                  </a:moveTo>
                  <a:lnTo>
                    <a:pt x="1" y="296"/>
                  </a:lnTo>
                  <a:cubicBezTo>
                    <a:pt x="1" y="323"/>
                    <a:pt x="25" y="345"/>
                    <a:pt x="55" y="345"/>
                  </a:cubicBezTo>
                  <a:lnTo>
                    <a:pt x="55" y="557"/>
                  </a:lnTo>
                  <a:lnTo>
                    <a:pt x="56" y="557"/>
                  </a:lnTo>
                  <a:cubicBezTo>
                    <a:pt x="29" y="570"/>
                    <a:pt x="12" y="588"/>
                    <a:pt x="12" y="608"/>
                  </a:cubicBezTo>
                  <a:cubicBezTo>
                    <a:pt x="12" y="649"/>
                    <a:pt x="80" y="682"/>
                    <a:pt x="163" y="682"/>
                  </a:cubicBezTo>
                  <a:cubicBezTo>
                    <a:pt x="246" y="682"/>
                    <a:pt x="313" y="649"/>
                    <a:pt x="313" y="608"/>
                  </a:cubicBezTo>
                  <a:cubicBezTo>
                    <a:pt x="313" y="589"/>
                    <a:pt x="298" y="572"/>
                    <a:pt x="274" y="559"/>
                  </a:cubicBezTo>
                  <a:lnTo>
                    <a:pt x="275" y="344"/>
                  </a:lnTo>
                  <a:cubicBezTo>
                    <a:pt x="311" y="344"/>
                    <a:pt x="330" y="323"/>
                    <a:pt x="330" y="296"/>
                  </a:cubicBezTo>
                  <a:lnTo>
                    <a:pt x="330" y="127"/>
                  </a:lnTo>
                  <a:cubicBezTo>
                    <a:pt x="330" y="42"/>
                    <a:pt x="294" y="6"/>
                    <a:pt x="225" y="1"/>
                  </a:cubicBezTo>
                  <a:lnTo>
                    <a:pt x="106" y="0"/>
                  </a:lnTo>
                  <a:cubicBezTo>
                    <a:pt x="37" y="6"/>
                    <a:pt x="0" y="41"/>
                    <a:pt x="0" y="1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48349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111DFA8-8639-4B41-9FFB-87C825FB1705}"/>
              </a:ext>
            </a:extLst>
          </p:cNvPr>
          <p:cNvSpPr txBox="1"/>
          <p:nvPr/>
        </p:nvSpPr>
        <p:spPr>
          <a:xfrm>
            <a:off x="3101419" y="2582945"/>
            <a:ext cx="530729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dirty="0"/>
              <a:t>Thank you</a:t>
            </a:r>
            <a:endParaRPr lang="el-GR" sz="6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CE79504-180C-41B0-9F1C-8C2450822A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091" b="88430" l="4247" r="94208">
                        <a14:foregroundMark x1="4633" y1="14050" x2="14286" y2="12397"/>
                        <a14:foregroundMark x1="87259" y1="9091" x2="94208" y2="1652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28720" y="3739285"/>
            <a:ext cx="2452688" cy="114585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3816250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4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Motion origin="layout" path="M 0.0 0.0 L 0.0 -0.07213" pathEditMode="relative" ptsTypes="">
                                      <p:cBhvr>
                                        <p:cTn id="6" dur="250" accel="50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Rot by="1500000">
                                      <p:cBhvr>
                                        <p:cTn id="7" dur="12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8" dur="125" fill="hold">
                                          <p:stCondLst>
                                            <p:cond delay="125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9" dur="125" fill="hold">
                                          <p:stCondLst>
                                            <p:cond delay="25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500000">
                                      <p:cBhvr>
                                        <p:cTn id="10" dur="125" fill="hold">
                                          <p:stCondLst>
                                            <p:cond delay="375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4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5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6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7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8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41B68C77-138E-4BF7-A276-BD0C78A421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7C268552-D473-46ED-B1B8-422042C4D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35" name="Oval 34">
            <a:extLst>
              <a:ext uri="{FF2B5EF4-FFF2-40B4-BE49-F238E27FC236}">
                <a16:creationId xmlns:a16="http://schemas.microsoft.com/office/drawing/2014/main" id="{4AC0CD9D-7610-4620-93B4-798CCD9AB5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9238B3E-24AA-439A-B527-6C5DF6D721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69F01145-BEA3-4CBF-AA21-10077B948C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DE4D62F9-188E-4530-84C2-24BDEE4BEB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 useBgFill="1">
        <p:nvSpPr>
          <p:cNvPr id="43" name="Rectangle 42">
            <a:extLst>
              <a:ext uri="{FF2B5EF4-FFF2-40B4-BE49-F238E27FC236}">
                <a16:creationId xmlns:a16="http://schemas.microsoft.com/office/drawing/2014/main" id="{20F6071B-48FA-4685-A9C9-A7B21E1C14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5"/>
            <a:ext cx="12191695" cy="47307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Content Placeholder 4">
            <a:extLst>
              <a:ext uri="{FF2B5EF4-FFF2-40B4-BE49-F238E27FC236}">
                <a16:creationId xmlns:a16="http://schemas.microsoft.com/office/drawing/2014/main" id="{B89E7366-58A6-49F3-9F8C-82DFA725305C}"/>
              </a:ext>
            </a:extLst>
          </p:cNvPr>
          <p:cNvPicPr>
            <a:picLocks noGrp="1"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0398" y="429861"/>
            <a:ext cx="7016399" cy="3294286"/>
          </a:xfrm>
          <a:prstGeom prst="rect">
            <a:avLst/>
          </a:prstGeom>
          <a:effectLst/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8C56044C-1580-4C45-8AA3-F2A07478B4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51A8E3CE-561F-42BE-B6A2-FBE96F9A82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-1" y="3579207"/>
            <a:ext cx="12191696" cy="3278793"/>
          </a:xfrm>
          <a:custGeom>
            <a:avLst/>
            <a:gdLst>
              <a:gd name="connsiteX0" fmla="*/ 1 w 12191696"/>
              <a:gd name="connsiteY0" fmla="*/ 0 h 3278793"/>
              <a:gd name="connsiteX1" fmla="*/ 71932 w 12191696"/>
              <a:gd name="connsiteY1" fmla="*/ 12261 h 3278793"/>
              <a:gd name="connsiteX2" fmla="*/ 282849 w 12191696"/>
              <a:gd name="connsiteY2" fmla="*/ 48343 h 3278793"/>
              <a:gd name="connsiteX3" fmla="*/ 436464 w 12191696"/>
              <a:gd name="connsiteY3" fmla="*/ 73565 h 3278793"/>
              <a:gd name="connsiteX4" fmla="*/ 619339 w 12191696"/>
              <a:gd name="connsiteY4" fmla="*/ 100188 h 3278793"/>
              <a:gd name="connsiteX5" fmla="*/ 836351 w 12191696"/>
              <a:gd name="connsiteY5" fmla="*/ 132066 h 3278793"/>
              <a:gd name="connsiteX6" fmla="*/ 1076528 w 12191696"/>
              <a:gd name="connsiteY6" fmla="*/ 165696 h 3278793"/>
              <a:gd name="connsiteX7" fmla="*/ 1347183 w 12191696"/>
              <a:gd name="connsiteY7" fmla="*/ 201077 h 3278793"/>
              <a:gd name="connsiteX8" fmla="*/ 1642223 w 12191696"/>
              <a:gd name="connsiteY8" fmla="*/ 238560 h 3278793"/>
              <a:gd name="connsiteX9" fmla="*/ 1962864 w 12191696"/>
              <a:gd name="connsiteY9" fmla="*/ 276043 h 3278793"/>
              <a:gd name="connsiteX10" fmla="*/ 2304232 w 12191696"/>
              <a:gd name="connsiteY10" fmla="*/ 314227 h 3278793"/>
              <a:gd name="connsiteX11" fmla="*/ 2672421 w 12191696"/>
              <a:gd name="connsiteY11" fmla="*/ 349608 h 3278793"/>
              <a:gd name="connsiteX12" fmla="*/ 3057678 w 12191696"/>
              <a:gd name="connsiteY12" fmla="*/ 383588 h 3278793"/>
              <a:gd name="connsiteX13" fmla="*/ 3464881 w 12191696"/>
              <a:gd name="connsiteY13" fmla="*/ 414415 h 3278793"/>
              <a:gd name="connsiteX14" fmla="*/ 3889152 w 12191696"/>
              <a:gd name="connsiteY14" fmla="*/ 443841 h 3278793"/>
              <a:gd name="connsiteX15" fmla="*/ 4331710 w 12191696"/>
              <a:gd name="connsiteY15" fmla="*/ 471515 h 3278793"/>
              <a:gd name="connsiteX16" fmla="*/ 4558476 w 12191696"/>
              <a:gd name="connsiteY16" fmla="*/ 481324 h 3278793"/>
              <a:gd name="connsiteX17" fmla="*/ 4790118 w 12191696"/>
              <a:gd name="connsiteY17" fmla="*/ 492183 h 3278793"/>
              <a:gd name="connsiteX18" fmla="*/ 5025418 w 12191696"/>
              <a:gd name="connsiteY18" fmla="*/ 502342 h 3278793"/>
              <a:gd name="connsiteX19" fmla="*/ 5261937 w 12191696"/>
              <a:gd name="connsiteY19" fmla="*/ 508998 h 3278793"/>
              <a:gd name="connsiteX20" fmla="*/ 5503333 w 12191696"/>
              <a:gd name="connsiteY20" fmla="*/ 514953 h 3278793"/>
              <a:gd name="connsiteX21" fmla="*/ 5747166 w 12191696"/>
              <a:gd name="connsiteY21" fmla="*/ 521259 h 3278793"/>
              <a:gd name="connsiteX22" fmla="*/ 5995877 w 12191696"/>
              <a:gd name="connsiteY22" fmla="*/ 525463 h 3278793"/>
              <a:gd name="connsiteX23" fmla="*/ 6247026 w 12191696"/>
              <a:gd name="connsiteY23" fmla="*/ 525463 h 3278793"/>
              <a:gd name="connsiteX24" fmla="*/ 6500613 w 12191696"/>
              <a:gd name="connsiteY24" fmla="*/ 527565 h 3278793"/>
              <a:gd name="connsiteX25" fmla="*/ 6756639 w 12191696"/>
              <a:gd name="connsiteY25" fmla="*/ 525463 h 3278793"/>
              <a:gd name="connsiteX26" fmla="*/ 7016322 w 12191696"/>
              <a:gd name="connsiteY26" fmla="*/ 521259 h 3278793"/>
              <a:gd name="connsiteX27" fmla="*/ 7276005 w 12191696"/>
              <a:gd name="connsiteY27" fmla="*/ 517406 h 3278793"/>
              <a:gd name="connsiteX28" fmla="*/ 7539345 w 12191696"/>
              <a:gd name="connsiteY28" fmla="*/ 508998 h 3278793"/>
              <a:gd name="connsiteX29" fmla="*/ 7805124 w 12191696"/>
              <a:gd name="connsiteY29" fmla="*/ 500241 h 3278793"/>
              <a:gd name="connsiteX30" fmla="*/ 8070903 w 12191696"/>
              <a:gd name="connsiteY30" fmla="*/ 490082 h 3278793"/>
              <a:gd name="connsiteX31" fmla="*/ 8339121 w 12191696"/>
              <a:gd name="connsiteY31" fmla="*/ 475719 h 3278793"/>
              <a:gd name="connsiteX32" fmla="*/ 8609776 w 12191696"/>
              <a:gd name="connsiteY32" fmla="*/ 458554 h 3278793"/>
              <a:gd name="connsiteX33" fmla="*/ 8881651 w 12191696"/>
              <a:gd name="connsiteY33" fmla="*/ 442089 h 3278793"/>
              <a:gd name="connsiteX34" fmla="*/ 9153526 w 12191696"/>
              <a:gd name="connsiteY34" fmla="*/ 421071 h 3278793"/>
              <a:gd name="connsiteX35" fmla="*/ 9429058 w 12191696"/>
              <a:gd name="connsiteY35" fmla="*/ 395849 h 3278793"/>
              <a:gd name="connsiteX36" fmla="*/ 9700933 w 12191696"/>
              <a:gd name="connsiteY36" fmla="*/ 370626 h 3278793"/>
              <a:gd name="connsiteX37" fmla="*/ 9977684 w 12191696"/>
              <a:gd name="connsiteY37" fmla="*/ 341551 h 3278793"/>
              <a:gd name="connsiteX38" fmla="*/ 10255655 w 12191696"/>
              <a:gd name="connsiteY38" fmla="*/ 309673 h 3278793"/>
              <a:gd name="connsiteX39" fmla="*/ 10529968 w 12191696"/>
              <a:gd name="connsiteY39" fmla="*/ 276043 h 3278793"/>
              <a:gd name="connsiteX40" fmla="*/ 10807939 w 12191696"/>
              <a:gd name="connsiteY40" fmla="*/ 236809 h 3278793"/>
              <a:gd name="connsiteX41" fmla="*/ 11084690 w 12191696"/>
              <a:gd name="connsiteY41" fmla="*/ 194772 h 3278793"/>
              <a:gd name="connsiteX42" fmla="*/ 11362661 w 12191696"/>
              <a:gd name="connsiteY42" fmla="*/ 153085 h 3278793"/>
              <a:gd name="connsiteX43" fmla="*/ 11639412 w 12191696"/>
              <a:gd name="connsiteY43" fmla="*/ 104392 h 3278793"/>
              <a:gd name="connsiteX44" fmla="*/ 11914945 w 12191696"/>
              <a:gd name="connsiteY44" fmla="*/ 54648 h 3278793"/>
              <a:gd name="connsiteX45" fmla="*/ 12191696 w 12191696"/>
              <a:gd name="connsiteY45" fmla="*/ 2452 h 3278793"/>
              <a:gd name="connsiteX46" fmla="*/ 12191696 w 12191696"/>
              <a:gd name="connsiteY46" fmla="*/ 2802467 h 3278793"/>
              <a:gd name="connsiteX47" fmla="*/ 12191695 w 12191696"/>
              <a:gd name="connsiteY47" fmla="*/ 2802467 h 3278793"/>
              <a:gd name="connsiteX48" fmla="*/ 12191695 w 12191696"/>
              <a:gd name="connsiteY48" fmla="*/ 3278793 h 3278793"/>
              <a:gd name="connsiteX49" fmla="*/ 0 w 12191696"/>
              <a:gd name="connsiteY49" fmla="*/ 3278793 h 3278793"/>
              <a:gd name="connsiteX50" fmla="*/ 0 w 12191696"/>
              <a:gd name="connsiteY50" fmla="*/ 2134639 h 3278793"/>
              <a:gd name="connsiteX51" fmla="*/ 1 w 12191696"/>
              <a:gd name="connsiteY51" fmla="*/ 2134639 h 3278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1696" h="3278793">
                <a:moveTo>
                  <a:pt x="1" y="0"/>
                </a:moveTo>
                <a:lnTo>
                  <a:pt x="71932" y="12261"/>
                </a:lnTo>
                <a:lnTo>
                  <a:pt x="282849" y="48343"/>
                </a:lnTo>
                <a:lnTo>
                  <a:pt x="436464" y="73565"/>
                </a:lnTo>
                <a:lnTo>
                  <a:pt x="619339" y="100188"/>
                </a:lnTo>
                <a:lnTo>
                  <a:pt x="836351" y="132066"/>
                </a:lnTo>
                <a:lnTo>
                  <a:pt x="1076528" y="165696"/>
                </a:lnTo>
                <a:lnTo>
                  <a:pt x="1347183" y="201077"/>
                </a:lnTo>
                <a:lnTo>
                  <a:pt x="1642223" y="238560"/>
                </a:lnTo>
                <a:lnTo>
                  <a:pt x="1962864" y="276043"/>
                </a:lnTo>
                <a:lnTo>
                  <a:pt x="2304232" y="314227"/>
                </a:lnTo>
                <a:lnTo>
                  <a:pt x="2672421" y="349608"/>
                </a:lnTo>
                <a:lnTo>
                  <a:pt x="3057678" y="383588"/>
                </a:lnTo>
                <a:lnTo>
                  <a:pt x="3464881" y="414415"/>
                </a:lnTo>
                <a:lnTo>
                  <a:pt x="3889152" y="443841"/>
                </a:lnTo>
                <a:lnTo>
                  <a:pt x="4331710" y="471515"/>
                </a:lnTo>
                <a:lnTo>
                  <a:pt x="4558476" y="481324"/>
                </a:lnTo>
                <a:lnTo>
                  <a:pt x="4790118" y="492183"/>
                </a:lnTo>
                <a:lnTo>
                  <a:pt x="5025418" y="502342"/>
                </a:lnTo>
                <a:lnTo>
                  <a:pt x="5261937" y="508998"/>
                </a:lnTo>
                <a:lnTo>
                  <a:pt x="5503333" y="514953"/>
                </a:lnTo>
                <a:lnTo>
                  <a:pt x="5747166" y="521259"/>
                </a:lnTo>
                <a:lnTo>
                  <a:pt x="5995877" y="525463"/>
                </a:lnTo>
                <a:lnTo>
                  <a:pt x="6247026" y="525463"/>
                </a:lnTo>
                <a:lnTo>
                  <a:pt x="6500613" y="527565"/>
                </a:lnTo>
                <a:lnTo>
                  <a:pt x="6756639" y="525463"/>
                </a:lnTo>
                <a:lnTo>
                  <a:pt x="7016322" y="521259"/>
                </a:lnTo>
                <a:lnTo>
                  <a:pt x="7276005" y="517406"/>
                </a:lnTo>
                <a:lnTo>
                  <a:pt x="7539345" y="508998"/>
                </a:lnTo>
                <a:lnTo>
                  <a:pt x="7805124" y="500241"/>
                </a:lnTo>
                <a:lnTo>
                  <a:pt x="8070903" y="490082"/>
                </a:lnTo>
                <a:lnTo>
                  <a:pt x="8339121" y="475719"/>
                </a:lnTo>
                <a:lnTo>
                  <a:pt x="8609776" y="458554"/>
                </a:lnTo>
                <a:lnTo>
                  <a:pt x="8881651" y="442089"/>
                </a:lnTo>
                <a:lnTo>
                  <a:pt x="9153526" y="421071"/>
                </a:lnTo>
                <a:lnTo>
                  <a:pt x="9429058" y="395849"/>
                </a:lnTo>
                <a:lnTo>
                  <a:pt x="9700933" y="370626"/>
                </a:lnTo>
                <a:lnTo>
                  <a:pt x="9977684" y="341551"/>
                </a:lnTo>
                <a:lnTo>
                  <a:pt x="10255655" y="309673"/>
                </a:lnTo>
                <a:lnTo>
                  <a:pt x="10529968" y="276043"/>
                </a:lnTo>
                <a:lnTo>
                  <a:pt x="10807939" y="236809"/>
                </a:lnTo>
                <a:lnTo>
                  <a:pt x="11084690" y="194772"/>
                </a:lnTo>
                <a:lnTo>
                  <a:pt x="11362661" y="153085"/>
                </a:lnTo>
                <a:lnTo>
                  <a:pt x="11639412" y="104392"/>
                </a:lnTo>
                <a:lnTo>
                  <a:pt x="11914945" y="54648"/>
                </a:lnTo>
                <a:lnTo>
                  <a:pt x="12191696" y="2452"/>
                </a:lnTo>
                <a:lnTo>
                  <a:pt x="12191696" y="2802467"/>
                </a:lnTo>
                <a:lnTo>
                  <a:pt x="12191695" y="2802467"/>
                </a:lnTo>
                <a:lnTo>
                  <a:pt x="12191695" y="3278793"/>
                </a:lnTo>
                <a:lnTo>
                  <a:pt x="0" y="3278793"/>
                </a:lnTo>
                <a:lnTo>
                  <a:pt x="0" y="2134639"/>
                </a:lnTo>
                <a:lnTo>
                  <a:pt x="1" y="2134639"/>
                </a:lnTo>
                <a:close/>
              </a:path>
            </a:pathLst>
          </a:custGeom>
          <a:ln>
            <a:noFill/>
          </a:ln>
        </p:spPr>
        <p:style>
          <a:lnRef idx="0">
            <a:scrgbClr r="0" g="0" b="0"/>
          </a:lnRef>
          <a:fillRef idx="1003">
            <a:schemeClr val="dk2"/>
          </a:fillRef>
          <a:effectRef idx="0">
            <a:scrgbClr r="0" g="0" b="0"/>
          </a:effectRef>
          <a:fontRef idx="major"/>
        </p:style>
      </p:sp>
      <p:sp>
        <p:nvSpPr>
          <p:cNvPr id="49" name="Freeform 16">
            <a:extLst>
              <a:ext uri="{FF2B5EF4-FFF2-40B4-BE49-F238E27FC236}">
                <a16:creationId xmlns:a16="http://schemas.microsoft.com/office/drawing/2014/main" id="{7DE548AA-7E1A-497C-8B79-C74F42ACFB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40" y="3280011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tx2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20399578-EA5E-45B8-B0B3-6DAACB648526}"/>
              </a:ext>
            </a:extLst>
          </p:cNvPr>
          <p:cNvSpPr txBox="1">
            <a:spLocks/>
          </p:cNvSpPr>
          <p:nvPr/>
        </p:nvSpPr>
        <p:spPr>
          <a:xfrm>
            <a:off x="7785296" y="4942552"/>
            <a:ext cx="3513214" cy="512884"/>
          </a:xfrm>
          <a:custGeom>
            <a:avLst/>
            <a:gdLst>
              <a:gd name="connsiteX0" fmla="*/ 0 w 3513214"/>
              <a:gd name="connsiteY0" fmla="*/ 0 h 512884"/>
              <a:gd name="connsiteX1" fmla="*/ 3513214 w 3513214"/>
              <a:gd name="connsiteY1" fmla="*/ 0 h 512884"/>
              <a:gd name="connsiteX2" fmla="*/ 3513214 w 3513214"/>
              <a:gd name="connsiteY2" fmla="*/ 512884 h 512884"/>
              <a:gd name="connsiteX3" fmla="*/ 0 w 3513214"/>
              <a:gd name="connsiteY3" fmla="*/ 512884 h 512884"/>
              <a:gd name="connsiteX4" fmla="*/ 0 w 3513214"/>
              <a:gd name="connsiteY4" fmla="*/ 0 h 512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3214" h="512884" fill="none" extrusionOk="0">
                <a:moveTo>
                  <a:pt x="0" y="0"/>
                </a:moveTo>
                <a:cubicBezTo>
                  <a:pt x="1231780" y="9384"/>
                  <a:pt x="2765976" y="76589"/>
                  <a:pt x="3513214" y="0"/>
                </a:cubicBezTo>
                <a:cubicBezTo>
                  <a:pt x="3557272" y="192200"/>
                  <a:pt x="3507248" y="279470"/>
                  <a:pt x="3513214" y="512884"/>
                </a:cubicBezTo>
                <a:cubicBezTo>
                  <a:pt x="2771725" y="507102"/>
                  <a:pt x="803802" y="603121"/>
                  <a:pt x="0" y="512884"/>
                </a:cubicBezTo>
                <a:cubicBezTo>
                  <a:pt x="16844" y="450710"/>
                  <a:pt x="-29940" y="86469"/>
                  <a:pt x="0" y="0"/>
                </a:cubicBezTo>
                <a:close/>
              </a:path>
              <a:path w="3513214" h="512884" stroke="0" extrusionOk="0">
                <a:moveTo>
                  <a:pt x="0" y="0"/>
                </a:moveTo>
                <a:cubicBezTo>
                  <a:pt x="845024" y="162607"/>
                  <a:pt x="2333020" y="101603"/>
                  <a:pt x="3513214" y="0"/>
                </a:cubicBezTo>
                <a:cubicBezTo>
                  <a:pt x="3514938" y="177093"/>
                  <a:pt x="3542934" y="396814"/>
                  <a:pt x="3513214" y="512884"/>
                </a:cubicBezTo>
                <a:cubicBezTo>
                  <a:pt x="2380266" y="380650"/>
                  <a:pt x="1426478" y="375259"/>
                  <a:pt x="0" y="512884"/>
                </a:cubicBezTo>
                <a:cubicBezTo>
                  <a:pt x="44719" y="327379"/>
                  <a:pt x="-27280" y="207631"/>
                  <a:pt x="0" y="0"/>
                </a:cubicBezTo>
                <a:close/>
              </a:path>
            </a:pathLst>
          </a:custGeom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290057185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2000" b="0" i="0" kern="1200" cap="all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2pPr>
            <a:lvl3pPr marL="914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3pPr>
            <a:lvl4pPr marL="1371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4pPr>
            <a:lvl5pPr marL="18288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5pPr>
            <a:lvl6pPr marL="22860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6pPr>
            <a:lvl7pPr marL="2743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7pPr>
            <a:lvl8pPr marL="3200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8pPr>
            <a:lvl9pPr marL="3657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9pPr>
          </a:lstStyle>
          <a:p>
            <a:r>
              <a:rPr lang="en-US" sz="3200" b="1" cap="none" dirty="0">
                <a:solidFill>
                  <a:srgbClr val="EBEBEB"/>
                </a:solidFill>
                <a:latin typeface="Century Gothic" panose="020B0502020202020204"/>
              </a:rPr>
              <a:t>Eleni </a:t>
            </a:r>
            <a:r>
              <a:rPr lang="en-US" sz="3200" b="1" cap="none" dirty="0" err="1">
                <a:solidFill>
                  <a:srgbClr val="EBEBEB"/>
                </a:solidFill>
                <a:latin typeface="Century Gothic" panose="020B0502020202020204"/>
              </a:rPr>
              <a:t>Kakagianni</a:t>
            </a:r>
            <a:endParaRPr lang="en-US" sz="32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CF1990-AA45-4E5E-B957-966B7B7A2125}"/>
              </a:ext>
            </a:extLst>
          </p:cNvPr>
          <p:cNvSpPr txBox="1"/>
          <p:nvPr/>
        </p:nvSpPr>
        <p:spPr>
          <a:xfrm>
            <a:off x="7999412" y="1674807"/>
            <a:ext cx="4375052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endParaRPr lang="en-US" dirty="0"/>
          </a:p>
          <a:p>
            <a:pPr>
              <a:spcAft>
                <a:spcPts val="600"/>
              </a:spcAft>
            </a:pPr>
            <a:r>
              <a:rPr lang="en-US" sz="3600" b="1" dirty="0"/>
              <a:t>Team Members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63D39D71-57FD-4A2D-9D92-1594A566D731}"/>
              </a:ext>
            </a:extLst>
          </p:cNvPr>
          <p:cNvSpPr txBox="1">
            <a:spLocks/>
          </p:cNvSpPr>
          <p:nvPr/>
        </p:nvSpPr>
        <p:spPr>
          <a:xfrm>
            <a:off x="858250" y="4942552"/>
            <a:ext cx="2691098" cy="537909"/>
          </a:xfrm>
          <a:custGeom>
            <a:avLst/>
            <a:gdLst>
              <a:gd name="connsiteX0" fmla="*/ 0 w 2691098"/>
              <a:gd name="connsiteY0" fmla="*/ 0 h 537909"/>
              <a:gd name="connsiteX1" fmla="*/ 2691098 w 2691098"/>
              <a:gd name="connsiteY1" fmla="*/ 0 h 537909"/>
              <a:gd name="connsiteX2" fmla="*/ 2691098 w 2691098"/>
              <a:gd name="connsiteY2" fmla="*/ 537909 h 537909"/>
              <a:gd name="connsiteX3" fmla="*/ 0 w 2691098"/>
              <a:gd name="connsiteY3" fmla="*/ 537909 h 537909"/>
              <a:gd name="connsiteX4" fmla="*/ 0 w 2691098"/>
              <a:gd name="connsiteY4" fmla="*/ 0 h 53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91098" h="537909" fill="none" extrusionOk="0">
                <a:moveTo>
                  <a:pt x="0" y="0"/>
                </a:moveTo>
                <a:cubicBezTo>
                  <a:pt x="385068" y="9384"/>
                  <a:pt x="2004574" y="76589"/>
                  <a:pt x="2691098" y="0"/>
                </a:cubicBezTo>
                <a:cubicBezTo>
                  <a:pt x="2643736" y="119522"/>
                  <a:pt x="2716245" y="337054"/>
                  <a:pt x="2691098" y="537909"/>
                </a:cubicBezTo>
                <a:cubicBezTo>
                  <a:pt x="1689122" y="532127"/>
                  <a:pt x="1057552" y="628146"/>
                  <a:pt x="0" y="537909"/>
                </a:cubicBezTo>
                <a:cubicBezTo>
                  <a:pt x="-122" y="468488"/>
                  <a:pt x="23498" y="65912"/>
                  <a:pt x="0" y="0"/>
                </a:cubicBezTo>
                <a:close/>
              </a:path>
              <a:path w="2691098" h="537909" stroke="0" extrusionOk="0">
                <a:moveTo>
                  <a:pt x="0" y="0"/>
                </a:moveTo>
                <a:cubicBezTo>
                  <a:pt x="1292504" y="162607"/>
                  <a:pt x="1486536" y="101603"/>
                  <a:pt x="2691098" y="0"/>
                </a:cubicBezTo>
                <a:cubicBezTo>
                  <a:pt x="2715293" y="99320"/>
                  <a:pt x="2661184" y="291788"/>
                  <a:pt x="2691098" y="537909"/>
                </a:cubicBezTo>
                <a:cubicBezTo>
                  <a:pt x="2355053" y="405675"/>
                  <a:pt x="1110216" y="400284"/>
                  <a:pt x="0" y="537909"/>
                </a:cubicBezTo>
                <a:cubicBezTo>
                  <a:pt x="17834" y="313661"/>
                  <a:pt x="36352" y="63209"/>
                  <a:pt x="0" y="0"/>
                </a:cubicBezTo>
                <a:close/>
              </a:path>
            </a:pathLst>
          </a:custGeom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290057185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2000" b="0" i="0" kern="1200" cap="all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2pPr>
            <a:lvl3pPr marL="914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3pPr>
            <a:lvl4pPr marL="1371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4pPr>
            <a:lvl5pPr marL="18288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5pPr>
            <a:lvl6pPr marL="22860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6pPr>
            <a:lvl7pPr marL="2743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7pPr>
            <a:lvl8pPr marL="3200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8pPr>
            <a:lvl9pPr marL="3657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9pPr>
          </a:lstStyle>
          <a:p>
            <a:r>
              <a:rPr lang="en-US" sz="3200" b="1" cap="none" dirty="0">
                <a:solidFill>
                  <a:srgbClr val="EBEBEB"/>
                </a:solidFill>
                <a:latin typeface="Century Gothic" panose="020B0502020202020204"/>
              </a:rPr>
              <a:t>Aris </a:t>
            </a:r>
            <a:r>
              <a:rPr lang="en-US" sz="3200" b="1" cap="none" dirty="0" err="1">
                <a:solidFill>
                  <a:srgbClr val="EBEBEB"/>
                </a:solidFill>
                <a:latin typeface="Century Gothic" panose="020B0502020202020204"/>
              </a:rPr>
              <a:t>Petrou</a:t>
            </a:r>
            <a:endParaRPr lang="en-US" sz="3200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8D9A142-F332-42E0-9D3C-714008107D5E}"/>
              </a:ext>
            </a:extLst>
          </p:cNvPr>
          <p:cNvSpPr txBox="1">
            <a:spLocks/>
          </p:cNvSpPr>
          <p:nvPr/>
        </p:nvSpPr>
        <p:spPr>
          <a:xfrm>
            <a:off x="4198597" y="4934858"/>
            <a:ext cx="2858951" cy="545603"/>
          </a:xfrm>
          <a:custGeom>
            <a:avLst/>
            <a:gdLst>
              <a:gd name="connsiteX0" fmla="*/ 0 w 2858951"/>
              <a:gd name="connsiteY0" fmla="*/ 0 h 545603"/>
              <a:gd name="connsiteX1" fmla="*/ 2858951 w 2858951"/>
              <a:gd name="connsiteY1" fmla="*/ 0 h 545603"/>
              <a:gd name="connsiteX2" fmla="*/ 2858951 w 2858951"/>
              <a:gd name="connsiteY2" fmla="*/ 545603 h 545603"/>
              <a:gd name="connsiteX3" fmla="*/ 0 w 2858951"/>
              <a:gd name="connsiteY3" fmla="*/ 545603 h 545603"/>
              <a:gd name="connsiteX4" fmla="*/ 0 w 2858951"/>
              <a:gd name="connsiteY4" fmla="*/ 0 h 545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58951" h="545603" fill="none" extrusionOk="0">
                <a:moveTo>
                  <a:pt x="0" y="0"/>
                </a:moveTo>
                <a:cubicBezTo>
                  <a:pt x="480068" y="9384"/>
                  <a:pt x="1487820" y="76589"/>
                  <a:pt x="2858951" y="0"/>
                </a:cubicBezTo>
                <a:cubicBezTo>
                  <a:pt x="2891094" y="161657"/>
                  <a:pt x="2842165" y="278042"/>
                  <a:pt x="2858951" y="545603"/>
                </a:cubicBezTo>
                <a:cubicBezTo>
                  <a:pt x="1697015" y="539821"/>
                  <a:pt x="1325454" y="635840"/>
                  <a:pt x="0" y="545603"/>
                </a:cubicBezTo>
                <a:cubicBezTo>
                  <a:pt x="37488" y="408069"/>
                  <a:pt x="27813" y="118865"/>
                  <a:pt x="0" y="0"/>
                </a:cubicBezTo>
                <a:close/>
              </a:path>
              <a:path w="2858951" h="545603" stroke="0" extrusionOk="0">
                <a:moveTo>
                  <a:pt x="0" y="0"/>
                </a:moveTo>
                <a:cubicBezTo>
                  <a:pt x="1020793" y="162607"/>
                  <a:pt x="2294688" y="101603"/>
                  <a:pt x="2858951" y="0"/>
                </a:cubicBezTo>
                <a:cubicBezTo>
                  <a:pt x="2826171" y="70696"/>
                  <a:pt x="2823682" y="477904"/>
                  <a:pt x="2858951" y="545603"/>
                </a:cubicBezTo>
                <a:cubicBezTo>
                  <a:pt x="2487263" y="413369"/>
                  <a:pt x="625539" y="407978"/>
                  <a:pt x="0" y="545603"/>
                </a:cubicBezTo>
                <a:cubicBezTo>
                  <a:pt x="43124" y="350943"/>
                  <a:pt x="-44811" y="127266"/>
                  <a:pt x="0" y="0"/>
                </a:cubicBezTo>
                <a:close/>
              </a:path>
            </a:pathLst>
          </a:custGeom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290057185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2000" b="0" i="0" kern="1200" cap="all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2pPr>
            <a:lvl3pPr marL="914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3pPr>
            <a:lvl4pPr marL="1371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4pPr>
            <a:lvl5pPr marL="18288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5pPr>
            <a:lvl6pPr marL="22860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6pPr>
            <a:lvl7pPr marL="2743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7pPr>
            <a:lvl8pPr marL="3200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8pPr>
            <a:lvl9pPr marL="3657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9pPr>
          </a:lstStyle>
          <a:p>
            <a:r>
              <a:rPr lang="en-US" sz="3200" b="1" cap="none" dirty="0">
                <a:solidFill>
                  <a:srgbClr val="EBEBEB"/>
                </a:solidFill>
                <a:latin typeface="Century Gothic" panose="020B0502020202020204"/>
              </a:rPr>
              <a:t>Elena </a:t>
            </a:r>
            <a:r>
              <a:rPr lang="en-US" sz="3200" b="1" cap="none" dirty="0" err="1">
                <a:solidFill>
                  <a:srgbClr val="EBEBEB"/>
                </a:solidFill>
                <a:latin typeface="Century Gothic" panose="020B0502020202020204"/>
              </a:rPr>
              <a:t>Styliara</a:t>
            </a:r>
            <a:endParaRPr lang="en-US" sz="3200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DE57A65E-D972-41AB-9353-C645002466BA}"/>
              </a:ext>
            </a:extLst>
          </p:cNvPr>
          <p:cNvGrpSpPr/>
          <p:nvPr/>
        </p:nvGrpSpPr>
        <p:grpSpPr>
          <a:xfrm>
            <a:off x="615492" y="1329345"/>
            <a:ext cx="2062836" cy="5313171"/>
            <a:chOff x="667744" y="1100589"/>
            <a:chExt cx="2062836" cy="4830155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F74396C4-0B67-4615-8CAC-3AEB51BCC54F}"/>
                </a:ext>
              </a:extLst>
            </p:cNvPr>
            <p:cNvSpPr/>
            <p:nvPr/>
          </p:nvSpPr>
          <p:spPr>
            <a:xfrm flipH="1">
              <a:off x="667744" y="1100589"/>
              <a:ext cx="2046514" cy="1118431"/>
            </a:xfrm>
            <a:custGeom>
              <a:avLst/>
              <a:gdLst>
                <a:gd name="connsiteX0" fmla="*/ 2046514 w 2046514"/>
                <a:gd name="connsiteY0" fmla="*/ 0 h 1118431"/>
                <a:gd name="connsiteX1" fmla="*/ 1684277 w 2046514"/>
                <a:gd name="connsiteY1" fmla="*/ 288765 h 1118431"/>
                <a:gd name="connsiteX2" fmla="*/ 1322039 w 2046514"/>
                <a:gd name="connsiteY2" fmla="*/ 0 h 1118431"/>
                <a:gd name="connsiteX3" fmla="*/ 1322039 w 2046514"/>
                <a:gd name="connsiteY3" fmla="*/ 271622 h 1118431"/>
                <a:gd name="connsiteX4" fmla="*/ 117569 w 2046514"/>
                <a:gd name="connsiteY4" fmla="*/ 271622 h 1118431"/>
                <a:gd name="connsiteX5" fmla="*/ 0 w 2046514"/>
                <a:gd name="connsiteY5" fmla="*/ 389191 h 1118431"/>
                <a:gd name="connsiteX6" fmla="*/ 0 w 2046514"/>
                <a:gd name="connsiteY6" fmla="*/ 483022 h 1118431"/>
                <a:gd name="connsiteX7" fmla="*/ 0 w 2046514"/>
                <a:gd name="connsiteY7" fmla="*/ 712097 h 1118431"/>
                <a:gd name="connsiteX8" fmla="*/ 0 w 2046514"/>
                <a:gd name="connsiteY8" fmla="*/ 829666 h 1118431"/>
                <a:gd name="connsiteX9" fmla="*/ 362237 w 2046514"/>
                <a:gd name="connsiteY9" fmla="*/ 1118431 h 1118431"/>
                <a:gd name="connsiteX10" fmla="*/ 724475 w 2046514"/>
                <a:gd name="connsiteY10" fmla="*/ 829666 h 1118431"/>
                <a:gd name="connsiteX11" fmla="*/ 1928945 w 2046514"/>
                <a:gd name="connsiteY11" fmla="*/ 829666 h 1118431"/>
                <a:gd name="connsiteX12" fmla="*/ 2046514 w 2046514"/>
                <a:gd name="connsiteY12" fmla="*/ 712097 h 1118431"/>
                <a:gd name="connsiteX13" fmla="*/ 2046514 w 2046514"/>
                <a:gd name="connsiteY13" fmla="*/ 540901 h 1118431"/>
                <a:gd name="connsiteX14" fmla="*/ 2046514 w 2046514"/>
                <a:gd name="connsiteY14" fmla="*/ 389191 h 111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46514" h="1118431">
                  <a:moveTo>
                    <a:pt x="2046514" y="0"/>
                  </a:moveTo>
                  <a:lnTo>
                    <a:pt x="1684277" y="288765"/>
                  </a:lnTo>
                  <a:lnTo>
                    <a:pt x="1322039" y="0"/>
                  </a:lnTo>
                  <a:lnTo>
                    <a:pt x="1322039" y="271622"/>
                  </a:lnTo>
                  <a:lnTo>
                    <a:pt x="117569" y="271622"/>
                  </a:lnTo>
                  <a:cubicBezTo>
                    <a:pt x="52637" y="271622"/>
                    <a:pt x="0" y="324259"/>
                    <a:pt x="0" y="389191"/>
                  </a:cubicBezTo>
                  <a:lnTo>
                    <a:pt x="0" y="483022"/>
                  </a:lnTo>
                  <a:lnTo>
                    <a:pt x="0" y="712097"/>
                  </a:lnTo>
                  <a:lnTo>
                    <a:pt x="0" y="829666"/>
                  </a:lnTo>
                  <a:lnTo>
                    <a:pt x="362237" y="1118431"/>
                  </a:lnTo>
                  <a:lnTo>
                    <a:pt x="724475" y="829666"/>
                  </a:lnTo>
                  <a:lnTo>
                    <a:pt x="1928945" y="829666"/>
                  </a:lnTo>
                  <a:cubicBezTo>
                    <a:pt x="1993877" y="829666"/>
                    <a:pt x="2046514" y="777029"/>
                    <a:pt x="2046514" y="712097"/>
                  </a:cubicBezTo>
                  <a:lnTo>
                    <a:pt x="2046514" y="540901"/>
                  </a:lnTo>
                  <a:lnTo>
                    <a:pt x="2046514" y="389191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eural Networks</a:t>
              </a: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447209E4-2648-4ED1-8258-3BC06C152E73}"/>
                </a:ext>
              </a:extLst>
            </p:cNvPr>
            <p:cNvSpPr/>
            <p:nvPr/>
          </p:nvSpPr>
          <p:spPr>
            <a:xfrm>
              <a:off x="667744" y="2028520"/>
              <a:ext cx="2046514" cy="1118431"/>
            </a:xfrm>
            <a:custGeom>
              <a:avLst/>
              <a:gdLst>
                <a:gd name="connsiteX0" fmla="*/ 2046514 w 2046514"/>
                <a:gd name="connsiteY0" fmla="*/ 0 h 1118431"/>
                <a:gd name="connsiteX1" fmla="*/ 1684277 w 2046514"/>
                <a:gd name="connsiteY1" fmla="*/ 288765 h 1118431"/>
                <a:gd name="connsiteX2" fmla="*/ 1322039 w 2046514"/>
                <a:gd name="connsiteY2" fmla="*/ 0 h 1118431"/>
                <a:gd name="connsiteX3" fmla="*/ 1322039 w 2046514"/>
                <a:gd name="connsiteY3" fmla="*/ 271622 h 1118431"/>
                <a:gd name="connsiteX4" fmla="*/ 117569 w 2046514"/>
                <a:gd name="connsiteY4" fmla="*/ 271622 h 1118431"/>
                <a:gd name="connsiteX5" fmla="*/ 0 w 2046514"/>
                <a:gd name="connsiteY5" fmla="*/ 389191 h 1118431"/>
                <a:gd name="connsiteX6" fmla="*/ 0 w 2046514"/>
                <a:gd name="connsiteY6" fmla="*/ 483022 h 1118431"/>
                <a:gd name="connsiteX7" fmla="*/ 0 w 2046514"/>
                <a:gd name="connsiteY7" fmla="*/ 712097 h 1118431"/>
                <a:gd name="connsiteX8" fmla="*/ 0 w 2046514"/>
                <a:gd name="connsiteY8" fmla="*/ 829666 h 1118431"/>
                <a:gd name="connsiteX9" fmla="*/ 362237 w 2046514"/>
                <a:gd name="connsiteY9" fmla="*/ 1118431 h 1118431"/>
                <a:gd name="connsiteX10" fmla="*/ 724475 w 2046514"/>
                <a:gd name="connsiteY10" fmla="*/ 829666 h 1118431"/>
                <a:gd name="connsiteX11" fmla="*/ 1928945 w 2046514"/>
                <a:gd name="connsiteY11" fmla="*/ 829666 h 1118431"/>
                <a:gd name="connsiteX12" fmla="*/ 2046514 w 2046514"/>
                <a:gd name="connsiteY12" fmla="*/ 712097 h 1118431"/>
                <a:gd name="connsiteX13" fmla="*/ 2046514 w 2046514"/>
                <a:gd name="connsiteY13" fmla="*/ 540901 h 1118431"/>
                <a:gd name="connsiteX14" fmla="*/ 2046514 w 2046514"/>
                <a:gd name="connsiteY14" fmla="*/ 389191 h 111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46514" h="1118431">
                  <a:moveTo>
                    <a:pt x="2046514" y="0"/>
                  </a:moveTo>
                  <a:lnTo>
                    <a:pt x="1684277" y="288765"/>
                  </a:lnTo>
                  <a:lnTo>
                    <a:pt x="1322039" y="0"/>
                  </a:lnTo>
                  <a:lnTo>
                    <a:pt x="1322039" y="271622"/>
                  </a:lnTo>
                  <a:lnTo>
                    <a:pt x="117569" y="271622"/>
                  </a:lnTo>
                  <a:cubicBezTo>
                    <a:pt x="52637" y="271622"/>
                    <a:pt x="0" y="324259"/>
                    <a:pt x="0" y="389191"/>
                  </a:cubicBezTo>
                  <a:lnTo>
                    <a:pt x="0" y="483022"/>
                  </a:lnTo>
                  <a:lnTo>
                    <a:pt x="0" y="712097"/>
                  </a:lnTo>
                  <a:lnTo>
                    <a:pt x="0" y="829666"/>
                  </a:lnTo>
                  <a:lnTo>
                    <a:pt x="362237" y="1118431"/>
                  </a:lnTo>
                  <a:lnTo>
                    <a:pt x="724475" y="829666"/>
                  </a:lnTo>
                  <a:lnTo>
                    <a:pt x="1928945" y="829666"/>
                  </a:lnTo>
                  <a:cubicBezTo>
                    <a:pt x="1993877" y="829666"/>
                    <a:pt x="2046514" y="777029"/>
                    <a:pt x="2046514" y="712097"/>
                  </a:cubicBezTo>
                  <a:lnTo>
                    <a:pt x="2046514" y="540901"/>
                  </a:lnTo>
                  <a:lnTo>
                    <a:pt x="2046514" y="38919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ssignment goal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6D3E309-45B5-4786-B5F7-C5D2BAAA5A37}"/>
                </a:ext>
              </a:extLst>
            </p:cNvPr>
            <p:cNvSpPr/>
            <p:nvPr/>
          </p:nvSpPr>
          <p:spPr>
            <a:xfrm>
              <a:off x="671003" y="3884382"/>
              <a:ext cx="2046514" cy="1118431"/>
            </a:xfrm>
            <a:custGeom>
              <a:avLst/>
              <a:gdLst>
                <a:gd name="connsiteX0" fmla="*/ 2046514 w 2046514"/>
                <a:gd name="connsiteY0" fmla="*/ 0 h 1118431"/>
                <a:gd name="connsiteX1" fmla="*/ 1684277 w 2046514"/>
                <a:gd name="connsiteY1" fmla="*/ 288765 h 1118431"/>
                <a:gd name="connsiteX2" fmla="*/ 1322039 w 2046514"/>
                <a:gd name="connsiteY2" fmla="*/ 0 h 1118431"/>
                <a:gd name="connsiteX3" fmla="*/ 1322039 w 2046514"/>
                <a:gd name="connsiteY3" fmla="*/ 271622 h 1118431"/>
                <a:gd name="connsiteX4" fmla="*/ 117569 w 2046514"/>
                <a:gd name="connsiteY4" fmla="*/ 271622 h 1118431"/>
                <a:gd name="connsiteX5" fmla="*/ 0 w 2046514"/>
                <a:gd name="connsiteY5" fmla="*/ 389191 h 1118431"/>
                <a:gd name="connsiteX6" fmla="*/ 0 w 2046514"/>
                <a:gd name="connsiteY6" fmla="*/ 483022 h 1118431"/>
                <a:gd name="connsiteX7" fmla="*/ 0 w 2046514"/>
                <a:gd name="connsiteY7" fmla="*/ 712097 h 1118431"/>
                <a:gd name="connsiteX8" fmla="*/ 0 w 2046514"/>
                <a:gd name="connsiteY8" fmla="*/ 829666 h 1118431"/>
                <a:gd name="connsiteX9" fmla="*/ 362237 w 2046514"/>
                <a:gd name="connsiteY9" fmla="*/ 1118431 h 1118431"/>
                <a:gd name="connsiteX10" fmla="*/ 724475 w 2046514"/>
                <a:gd name="connsiteY10" fmla="*/ 829666 h 1118431"/>
                <a:gd name="connsiteX11" fmla="*/ 1928945 w 2046514"/>
                <a:gd name="connsiteY11" fmla="*/ 829666 h 1118431"/>
                <a:gd name="connsiteX12" fmla="*/ 2046514 w 2046514"/>
                <a:gd name="connsiteY12" fmla="*/ 712097 h 1118431"/>
                <a:gd name="connsiteX13" fmla="*/ 2046514 w 2046514"/>
                <a:gd name="connsiteY13" fmla="*/ 540901 h 1118431"/>
                <a:gd name="connsiteX14" fmla="*/ 2046514 w 2046514"/>
                <a:gd name="connsiteY14" fmla="*/ 389191 h 111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46514" h="1118431">
                  <a:moveTo>
                    <a:pt x="2046514" y="0"/>
                  </a:moveTo>
                  <a:lnTo>
                    <a:pt x="1684277" y="288765"/>
                  </a:lnTo>
                  <a:lnTo>
                    <a:pt x="1322039" y="0"/>
                  </a:lnTo>
                  <a:lnTo>
                    <a:pt x="1322039" y="271622"/>
                  </a:lnTo>
                  <a:lnTo>
                    <a:pt x="117569" y="271622"/>
                  </a:lnTo>
                  <a:cubicBezTo>
                    <a:pt x="52637" y="271622"/>
                    <a:pt x="0" y="324259"/>
                    <a:pt x="0" y="389191"/>
                  </a:cubicBezTo>
                  <a:lnTo>
                    <a:pt x="0" y="483022"/>
                  </a:lnTo>
                  <a:lnTo>
                    <a:pt x="0" y="712097"/>
                  </a:lnTo>
                  <a:lnTo>
                    <a:pt x="0" y="829666"/>
                  </a:lnTo>
                  <a:lnTo>
                    <a:pt x="362237" y="1118431"/>
                  </a:lnTo>
                  <a:lnTo>
                    <a:pt x="724475" y="829666"/>
                  </a:lnTo>
                  <a:lnTo>
                    <a:pt x="1928945" y="829666"/>
                  </a:lnTo>
                  <a:cubicBezTo>
                    <a:pt x="1993877" y="829666"/>
                    <a:pt x="2046514" y="777029"/>
                    <a:pt x="2046514" y="712097"/>
                  </a:cubicBezTo>
                  <a:lnTo>
                    <a:pt x="2046514" y="540901"/>
                  </a:lnTo>
                  <a:lnTo>
                    <a:pt x="2046514" y="38919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ext classification</a:t>
              </a: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6016CAD-06FD-4432-A69B-7F9243ADDB7E}"/>
                </a:ext>
              </a:extLst>
            </p:cNvPr>
            <p:cNvSpPr/>
            <p:nvPr/>
          </p:nvSpPr>
          <p:spPr>
            <a:xfrm flipH="1">
              <a:off x="671003" y="4812313"/>
              <a:ext cx="2046514" cy="1118431"/>
            </a:xfrm>
            <a:custGeom>
              <a:avLst/>
              <a:gdLst>
                <a:gd name="connsiteX0" fmla="*/ 2046514 w 2046514"/>
                <a:gd name="connsiteY0" fmla="*/ 0 h 1118431"/>
                <a:gd name="connsiteX1" fmla="*/ 1684277 w 2046514"/>
                <a:gd name="connsiteY1" fmla="*/ 288765 h 1118431"/>
                <a:gd name="connsiteX2" fmla="*/ 1322039 w 2046514"/>
                <a:gd name="connsiteY2" fmla="*/ 0 h 1118431"/>
                <a:gd name="connsiteX3" fmla="*/ 1322039 w 2046514"/>
                <a:gd name="connsiteY3" fmla="*/ 271622 h 1118431"/>
                <a:gd name="connsiteX4" fmla="*/ 117569 w 2046514"/>
                <a:gd name="connsiteY4" fmla="*/ 271622 h 1118431"/>
                <a:gd name="connsiteX5" fmla="*/ 0 w 2046514"/>
                <a:gd name="connsiteY5" fmla="*/ 389191 h 1118431"/>
                <a:gd name="connsiteX6" fmla="*/ 0 w 2046514"/>
                <a:gd name="connsiteY6" fmla="*/ 483022 h 1118431"/>
                <a:gd name="connsiteX7" fmla="*/ 0 w 2046514"/>
                <a:gd name="connsiteY7" fmla="*/ 712097 h 1118431"/>
                <a:gd name="connsiteX8" fmla="*/ 0 w 2046514"/>
                <a:gd name="connsiteY8" fmla="*/ 829666 h 1118431"/>
                <a:gd name="connsiteX9" fmla="*/ 362237 w 2046514"/>
                <a:gd name="connsiteY9" fmla="*/ 1118431 h 1118431"/>
                <a:gd name="connsiteX10" fmla="*/ 724475 w 2046514"/>
                <a:gd name="connsiteY10" fmla="*/ 829666 h 1118431"/>
                <a:gd name="connsiteX11" fmla="*/ 1928945 w 2046514"/>
                <a:gd name="connsiteY11" fmla="*/ 829666 h 1118431"/>
                <a:gd name="connsiteX12" fmla="*/ 2046514 w 2046514"/>
                <a:gd name="connsiteY12" fmla="*/ 712097 h 1118431"/>
                <a:gd name="connsiteX13" fmla="*/ 2046514 w 2046514"/>
                <a:gd name="connsiteY13" fmla="*/ 540901 h 1118431"/>
                <a:gd name="connsiteX14" fmla="*/ 2046514 w 2046514"/>
                <a:gd name="connsiteY14" fmla="*/ 389191 h 111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46514" h="1118431">
                  <a:moveTo>
                    <a:pt x="2046514" y="0"/>
                  </a:moveTo>
                  <a:lnTo>
                    <a:pt x="1684277" y="288765"/>
                  </a:lnTo>
                  <a:lnTo>
                    <a:pt x="1322039" y="0"/>
                  </a:lnTo>
                  <a:lnTo>
                    <a:pt x="1322039" y="271622"/>
                  </a:lnTo>
                  <a:lnTo>
                    <a:pt x="117569" y="271622"/>
                  </a:lnTo>
                  <a:cubicBezTo>
                    <a:pt x="52637" y="271622"/>
                    <a:pt x="0" y="324259"/>
                    <a:pt x="0" y="389191"/>
                  </a:cubicBezTo>
                  <a:lnTo>
                    <a:pt x="0" y="483022"/>
                  </a:lnTo>
                  <a:lnTo>
                    <a:pt x="0" y="712097"/>
                  </a:lnTo>
                  <a:lnTo>
                    <a:pt x="0" y="829666"/>
                  </a:lnTo>
                  <a:lnTo>
                    <a:pt x="362237" y="1118431"/>
                  </a:lnTo>
                  <a:lnTo>
                    <a:pt x="724475" y="829666"/>
                  </a:lnTo>
                  <a:lnTo>
                    <a:pt x="1928945" y="829666"/>
                  </a:lnTo>
                  <a:cubicBezTo>
                    <a:pt x="1993877" y="829666"/>
                    <a:pt x="2046514" y="777029"/>
                    <a:pt x="2046514" y="712097"/>
                  </a:cubicBezTo>
                  <a:lnTo>
                    <a:pt x="2046514" y="540901"/>
                  </a:lnTo>
                  <a:lnTo>
                    <a:pt x="2046514" y="38919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solidFill>
                    <a:prstClr val="white"/>
                  </a:solidFill>
                  <a:latin typeface="Calibri"/>
                </a:rPr>
                <a:t>Results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8B91244-E586-4D8C-8BFE-E6A786B2EB09}"/>
                </a:ext>
              </a:extLst>
            </p:cNvPr>
            <p:cNvSpPr/>
            <p:nvPr/>
          </p:nvSpPr>
          <p:spPr>
            <a:xfrm flipH="1">
              <a:off x="684066" y="2956451"/>
              <a:ext cx="2046514" cy="1118431"/>
            </a:xfrm>
            <a:custGeom>
              <a:avLst/>
              <a:gdLst>
                <a:gd name="connsiteX0" fmla="*/ 2046514 w 2046514"/>
                <a:gd name="connsiteY0" fmla="*/ 0 h 1118431"/>
                <a:gd name="connsiteX1" fmla="*/ 1684277 w 2046514"/>
                <a:gd name="connsiteY1" fmla="*/ 288765 h 1118431"/>
                <a:gd name="connsiteX2" fmla="*/ 1322039 w 2046514"/>
                <a:gd name="connsiteY2" fmla="*/ 0 h 1118431"/>
                <a:gd name="connsiteX3" fmla="*/ 1322039 w 2046514"/>
                <a:gd name="connsiteY3" fmla="*/ 271622 h 1118431"/>
                <a:gd name="connsiteX4" fmla="*/ 117569 w 2046514"/>
                <a:gd name="connsiteY4" fmla="*/ 271622 h 1118431"/>
                <a:gd name="connsiteX5" fmla="*/ 0 w 2046514"/>
                <a:gd name="connsiteY5" fmla="*/ 389191 h 1118431"/>
                <a:gd name="connsiteX6" fmla="*/ 0 w 2046514"/>
                <a:gd name="connsiteY6" fmla="*/ 483022 h 1118431"/>
                <a:gd name="connsiteX7" fmla="*/ 0 w 2046514"/>
                <a:gd name="connsiteY7" fmla="*/ 712097 h 1118431"/>
                <a:gd name="connsiteX8" fmla="*/ 0 w 2046514"/>
                <a:gd name="connsiteY8" fmla="*/ 829666 h 1118431"/>
                <a:gd name="connsiteX9" fmla="*/ 362237 w 2046514"/>
                <a:gd name="connsiteY9" fmla="*/ 1118431 h 1118431"/>
                <a:gd name="connsiteX10" fmla="*/ 724475 w 2046514"/>
                <a:gd name="connsiteY10" fmla="*/ 829666 h 1118431"/>
                <a:gd name="connsiteX11" fmla="*/ 1928945 w 2046514"/>
                <a:gd name="connsiteY11" fmla="*/ 829666 h 1118431"/>
                <a:gd name="connsiteX12" fmla="*/ 2046514 w 2046514"/>
                <a:gd name="connsiteY12" fmla="*/ 712097 h 1118431"/>
                <a:gd name="connsiteX13" fmla="*/ 2046514 w 2046514"/>
                <a:gd name="connsiteY13" fmla="*/ 540901 h 1118431"/>
                <a:gd name="connsiteX14" fmla="*/ 2046514 w 2046514"/>
                <a:gd name="connsiteY14" fmla="*/ 389191 h 111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46514" h="1118431">
                  <a:moveTo>
                    <a:pt x="2046514" y="0"/>
                  </a:moveTo>
                  <a:lnTo>
                    <a:pt x="1684277" y="288765"/>
                  </a:lnTo>
                  <a:lnTo>
                    <a:pt x="1322039" y="0"/>
                  </a:lnTo>
                  <a:lnTo>
                    <a:pt x="1322039" y="271622"/>
                  </a:lnTo>
                  <a:lnTo>
                    <a:pt x="117569" y="271622"/>
                  </a:lnTo>
                  <a:cubicBezTo>
                    <a:pt x="52637" y="271622"/>
                    <a:pt x="0" y="324259"/>
                    <a:pt x="0" y="389191"/>
                  </a:cubicBezTo>
                  <a:lnTo>
                    <a:pt x="0" y="483022"/>
                  </a:lnTo>
                  <a:lnTo>
                    <a:pt x="0" y="712097"/>
                  </a:lnTo>
                  <a:lnTo>
                    <a:pt x="0" y="829666"/>
                  </a:lnTo>
                  <a:lnTo>
                    <a:pt x="362237" y="1118431"/>
                  </a:lnTo>
                  <a:lnTo>
                    <a:pt x="724475" y="829666"/>
                  </a:lnTo>
                  <a:lnTo>
                    <a:pt x="1928945" y="829666"/>
                  </a:lnTo>
                  <a:cubicBezTo>
                    <a:pt x="1993877" y="829666"/>
                    <a:pt x="2046514" y="777029"/>
                    <a:pt x="2046514" y="712097"/>
                  </a:cubicBezTo>
                  <a:lnTo>
                    <a:pt x="2046514" y="540901"/>
                  </a:lnTo>
                  <a:lnTo>
                    <a:pt x="2046514" y="38919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set</a:t>
              </a:r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F96DF5F-8737-4233-B29D-7B0A0A40542A}"/>
              </a:ext>
            </a:extLst>
          </p:cNvPr>
          <p:cNvCxnSpPr>
            <a:cxnSpLocks/>
          </p:cNvCxnSpPr>
          <p:nvPr/>
        </p:nvCxnSpPr>
        <p:spPr>
          <a:xfrm>
            <a:off x="3027769" y="1293219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8CD7E8-C930-4FF3-8C7A-DC44E26A8748}"/>
              </a:ext>
            </a:extLst>
          </p:cNvPr>
          <p:cNvCxnSpPr>
            <a:cxnSpLocks/>
          </p:cNvCxnSpPr>
          <p:nvPr/>
        </p:nvCxnSpPr>
        <p:spPr>
          <a:xfrm>
            <a:off x="3027769" y="2308638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651E2FA-26C3-4D25-A9DD-2BA83EF73A91}"/>
              </a:ext>
            </a:extLst>
          </p:cNvPr>
          <p:cNvCxnSpPr>
            <a:cxnSpLocks/>
          </p:cNvCxnSpPr>
          <p:nvPr/>
        </p:nvCxnSpPr>
        <p:spPr>
          <a:xfrm>
            <a:off x="3027769" y="3324057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096A048-70B4-463B-A49D-587982A2D9DF}"/>
              </a:ext>
            </a:extLst>
          </p:cNvPr>
          <p:cNvCxnSpPr>
            <a:cxnSpLocks/>
          </p:cNvCxnSpPr>
          <p:nvPr/>
        </p:nvCxnSpPr>
        <p:spPr>
          <a:xfrm>
            <a:off x="3027769" y="4339476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CCC2086-991F-4721-9542-189EA36ACB77}"/>
              </a:ext>
            </a:extLst>
          </p:cNvPr>
          <p:cNvCxnSpPr>
            <a:cxnSpLocks/>
          </p:cNvCxnSpPr>
          <p:nvPr/>
        </p:nvCxnSpPr>
        <p:spPr>
          <a:xfrm>
            <a:off x="3027769" y="5354895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AB47B09-9FF8-42D3-81C9-26A6BE9BBE9F}"/>
              </a:ext>
            </a:extLst>
          </p:cNvPr>
          <p:cNvCxnSpPr>
            <a:cxnSpLocks/>
          </p:cNvCxnSpPr>
          <p:nvPr/>
        </p:nvCxnSpPr>
        <p:spPr>
          <a:xfrm>
            <a:off x="3027769" y="6370316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>
            <a:extLst>
              <a:ext uri="{FF2B5EF4-FFF2-40B4-BE49-F238E27FC236}">
                <a16:creationId xmlns:a16="http://schemas.microsoft.com/office/drawing/2014/main" id="{D11AFFF5-18F7-411F-80BA-3ADC8770EFD3}"/>
              </a:ext>
            </a:extLst>
          </p:cNvPr>
          <p:cNvSpPr>
            <a:spLocks noChangeAspect="1"/>
          </p:cNvSpPr>
          <p:nvPr/>
        </p:nvSpPr>
        <p:spPr>
          <a:xfrm>
            <a:off x="3027769" y="1537391"/>
            <a:ext cx="527076" cy="52707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ADF4E0B-B160-4F66-A782-587D63C3D362}"/>
              </a:ext>
            </a:extLst>
          </p:cNvPr>
          <p:cNvSpPr>
            <a:spLocks noChangeAspect="1"/>
          </p:cNvSpPr>
          <p:nvPr/>
        </p:nvSpPr>
        <p:spPr>
          <a:xfrm>
            <a:off x="3027769" y="2552810"/>
            <a:ext cx="527076" cy="52707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50C6C1A-0E5D-4071-B2DB-55B5D498B4FA}"/>
              </a:ext>
            </a:extLst>
          </p:cNvPr>
          <p:cNvSpPr>
            <a:spLocks noChangeAspect="1"/>
          </p:cNvSpPr>
          <p:nvPr/>
        </p:nvSpPr>
        <p:spPr>
          <a:xfrm>
            <a:off x="3027769" y="3568229"/>
            <a:ext cx="527076" cy="52707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FAA72E7-0FA7-40F1-9F16-3E459D3C666D}"/>
              </a:ext>
            </a:extLst>
          </p:cNvPr>
          <p:cNvSpPr>
            <a:spLocks noChangeAspect="1"/>
          </p:cNvSpPr>
          <p:nvPr/>
        </p:nvSpPr>
        <p:spPr>
          <a:xfrm>
            <a:off x="3027769" y="4583648"/>
            <a:ext cx="527076" cy="52707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EC7C0117-009D-432A-B1AE-3BEA54D653C8}"/>
              </a:ext>
            </a:extLst>
          </p:cNvPr>
          <p:cNvSpPr>
            <a:spLocks noChangeAspect="1"/>
          </p:cNvSpPr>
          <p:nvPr/>
        </p:nvSpPr>
        <p:spPr>
          <a:xfrm>
            <a:off x="3027769" y="5599067"/>
            <a:ext cx="527076" cy="52707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3E421DD-7F73-48C5-BDA3-451A3E2EF995}"/>
              </a:ext>
            </a:extLst>
          </p:cNvPr>
          <p:cNvSpPr/>
          <p:nvPr/>
        </p:nvSpPr>
        <p:spPr>
          <a:xfrm>
            <a:off x="3696788" y="1293219"/>
            <a:ext cx="7885611" cy="10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finition of Neural Network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xt classification &amp; topic analysi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AEA28A2-3B7A-4F81-8E2F-726011B03030}"/>
              </a:ext>
            </a:extLst>
          </p:cNvPr>
          <p:cNvSpPr/>
          <p:nvPr/>
        </p:nvSpPr>
        <p:spPr>
          <a:xfrm>
            <a:off x="3696788" y="2311587"/>
            <a:ext cx="7885611" cy="10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sentation of the business goal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1E2407D-97B3-4CF4-8F03-F12333D4588D}"/>
              </a:ext>
            </a:extLst>
          </p:cNvPr>
          <p:cNvSpPr/>
          <p:nvPr/>
        </p:nvSpPr>
        <p:spPr>
          <a:xfrm>
            <a:off x="3696788" y="3329955"/>
            <a:ext cx="7885611" cy="10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notation proces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Final dataset presentation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preprocessing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32CF6D2-EB84-48EA-89DE-6CAD6AE383EC}"/>
              </a:ext>
            </a:extLst>
          </p:cNvPr>
          <p:cNvSpPr/>
          <p:nvPr/>
        </p:nvSpPr>
        <p:spPr>
          <a:xfrm>
            <a:off x="3696788" y="4348323"/>
            <a:ext cx="7885611" cy="10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Text classification methods (MLP, CNN, RNN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6A19458-CE65-4D18-A503-7A991346632A}"/>
              </a:ext>
            </a:extLst>
          </p:cNvPr>
          <p:cNvSpPr/>
          <p:nvPr/>
        </p:nvSpPr>
        <p:spPr>
          <a:xfrm>
            <a:off x="3696788" y="5366693"/>
            <a:ext cx="7885611" cy="10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ural Network method selection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Evaluation metrics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Conclus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1 - Τίτλος">
            <a:extLst>
              <a:ext uri="{FF2B5EF4-FFF2-40B4-BE49-F238E27FC236}">
                <a16:creationId xmlns:a16="http://schemas.microsoft.com/office/drawing/2014/main" id="{D4B55F95-0667-4B39-8E98-2B0E3D744E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814" y="-217650"/>
            <a:ext cx="4679002" cy="1141407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900" dirty="0"/>
              <a:t>Content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9043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9" grpId="0" animBg="1"/>
      <p:bldP spid="20" grpId="0" animBg="1"/>
      <p:bldP spid="21" grpId="0"/>
      <p:bldP spid="22" grpId="0"/>
      <p:bldP spid="23" grpId="0"/>
      <p:bldP spid="24" grpId="0"/>
      <p:bldP spid="2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10">
            <a:extLst>
              <a:ext uri="{FF2B5EF4-FFF2-40B4-BE49-F238E27FC236}">
                <a16:creationId xmlns:a16="http://schemas.microsoft.com/office/drawing/2014/main" id="{412E3267-7ABE-412B-8580-47EC0D1F61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30" name="Picture 12">
            <a:extLst>
              <a:ext uri="{FF2B5EF4-FFF2-40B4-BE49-F238E27FC236}">
                <a16:creationId xmlns:a16="http://schemas.microsoft.com/office/drawing/2014/main" id="{20B62C5A-2250-4380-AB23-DB87446CCE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31" name="Oval 14">
            <a:extLst>
              <a:ext uri="{FF2B5EF4-FFF2-40B4-BE49-F238E27FC236}">
                <a16:creationId xmlns:a16="http://schemas.microsoft.com/office/drawing/2014/main" id="{D42CF425-7213-4F89-B0FF-4C2BDDD9C6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32" name="Picture 16">
            <a:extLst>
              <a:ext uri="{FF2B5EF4-FFF2-40B4-BE49-F238E27FC236}">
                <a16:creationId xmlns:a16="http://schemas.microsoft.com/office/drawing/2014/main" id="{D35DA97D-88F8-4249-B650-4FC9FD50A3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33" name="Picture 18">
            <a:extLst>
              <a:ext uri="{FF2B5EF4-FFF2-40B4-BE49-F238E27FC236}">
                <a16:creationId xmlns:a16="http://schemas.microsoft.com/office/drawing/2014/main" id="{43F38673-6E30-4BAE-AC67-0B283EBF42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34" name="Rectangle 20">
            <a:extLst>
              <a:ext uri="{FF2B5EF4-FFF2-40B4-BE49-F238E27FC236}">
                <a16:creationId xmlns:a16="http://schemas.microsoft.com/office/drawing/2014/main" id="{202A25CB-1ED1-4C87-AB49-8D3BC684D1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3E0DD4-9209-424C-9069-62A9CBDB8A5B}"/>
              </a:ext>
            </a:extLst>
          </p:cNvPr>
          <p:cNvSpPr txBox="1"/>
          <p:nvPr/>
        </p:nvSpPr>
        <p:spPr>
          <a:xfrm>
            <a:off x="209430" y="649191"/>
            <a:ext cx="6501997" cy="114140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4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What is Neural Network?</a:t>
            </a:r>
          </a:p>
        </p:txBody>
      </p:sp>
      <p:sp>
        <p:nvSpPr>
          <p:cNvPr id="35" name="Freeform: Shape 22">
            <a:extLst>
              <a:ext uri="{FF2B5EF4-FFF2-40B4-BE49-F238E27FC236}">
                <a16:creationId xmlns:a16="http://schemas.microsoft.com/office/drawing/2014/main" id="{B52D69C2-6C47-427C-AE60-582FE30B22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 rot="16200000">
            <a:off x="5998731" y="664312"/>
            <a:ext cx="6858001" cy="5529377"/>
          </a:xfrm>
          <a:custGeom>
            <a:avLst/>
            <a:gdLst>
              <a:gd name="connsiteX0" fmla="*/ 6858001 w 6858001"/>
              <a:gd name="connsiteY0" fmla="*/ 1177 h 5529377"/>
              <a:gd name="connsiteX1" fmla="*/ 6858001 w 6858001"/>
              <a:gd name="connsiteY1" fmla="*/ 1344715 h 5529377"/>
              <a:gd name="connsiteX2" fmla="*/ 6858000 w 6858001"/>
              <a:gd name="connsiteY2" fmla="*/ 1344715 h 5529377"/>
              <a:gd name="connsiteX3" fmla="*/ 6858000 w 6858001"/>
              <a:gd name="connsiteY3" fmla="*/ 5529377 h 5529377"/>
              <a:gd name="connsiteX4" fmla="*/ 0 w 6858001"/>
              <a:gd name="connsiteY4" fmla="*/ 5529376 h 5529377"/>
              <a:gd name="connsiteX5" fmla="*/ 0 w 6858001"/>
              <a:gd name="connsiteY5" fmla="*/ 891096 h 5529377"/>
              <a:gd name="connsiteX6" fmla="*/ 1 w 6858001"/>
              <a:gd name="connsiteY6" fmla="*/ 891096 h 5529377"/>
              <a:gd name="connsiteX7" fmla="*/ 1 w 6858001"/>
              <a:gd name="connsiteY7" fmla="*/ 0 h 5529377"/>
              <a:gd name="connsiteX8" fmla="*/ 40463 w 6858001"/>
              <a:gd name="connsiteY8" fmla="*/ 5883 h 5529377"/>
              <a:gd name="connsiteX9" fmla="*/ 159107 w 6858001"/>
              <a:gd name="connsiteY9" fmla="*/ 23196 h 5529377"/>
              <a:gd name="connsiteX10" fmla="*/ 245518 w 6858001"/>
              <a:gd name="connsiteY10" fmla="*/ 35299 h 5529377"/>
              <a:gd name="connsiteX11" fmla="*/ 348388 w 6858001"/>
              <a:gd name="connsiteY11" fmla="*/ 48073 h 5529377"/>
              <a:gd name="connsiteX12" fmla="*/ 470460 w 6858001"/>
              <a:gd name="connsiteY12" fmla="*/ 63369 h 5529377"/>
              <a:gd name="connsiteX13" fmla="*/ 605563 w 6858001"/>
              <a:gd name="connsiteY13" fmla="*/ 79506 h 5529377"/>
              <a:gd name="connsiteX14" fmla="*/ 757810 w 6858001"/>
              <a:gd name="connsiteY14" fmla="*/ 96483 h 5529377"/>
              <a:gd name="connsiteX15" fmla="*/ 923774 w 6858001"/>
              <a:gd name="connsiteY15" fmla="*/ 114469 h 5529377"/>
              <a:gd name="connsiteX16" fmla="*/ 1104139 w 6858001"/>
              <a:gd name="connsiteY16" fmla="*/ 132454 h 5529377"/>
              <a:gd name="connsiteX17" fmla="*/ 1296163 w 6858001"/>
              <a:gd name="connsiteY17" fmla="*/ 150776 h 5529377"/>
              <a:gd name="connsiteX18" fmla="*/ 1503275 w 6858001"/>
              <a:gd name="connsiteY18" fmla="*/ 167753 h 5529377"/>
              <a:gd name="connsiteX19" fmla="*/ 1719988 w 6858001"/>
              <a:gd name="connsiteY19" fmla="*/ 184058 h 5529377"/>
              <a:gd name="connsiteX20" fmla="*/ 1949045 w 6858001"/>
              <a:gd name="connsiteY20" fmla="*/ 198849 h 5529377"/>
              <a:gd name="connsiteX21" fmla="*/ 2187703 w 6858001"/>
              <a:gd name="connsiteY21" fmla="*/ 212969 h 5529377"/>
              <a:gd name="connsiteX22" fmla="*/ 2436649 w 6858001"/>
              <a:gd name="connsiteY22" fmla="*/ 226248 h 5529377"/>
              <a:gd name="connsiteX23" fmla="*/ 2564208 w 6858001"/>
              <a:gd name="connsiteY23" fmla="*/ 230955 h 5529377"/>
              <a:gd name="connsiteX24" fmla="*/ 2694509 w 6858001"/>
              <a:gd name="connsiteY24" fmla="*/ 236165 h 5529377"/>
              <a:gd name="connsiteX25" fmla="*/ 2826868 w 6858001"/>
              <a:gd name="connsiteY25" fmla="*/ 241040 h 5529377"/>
              <a:gd name="connsiteX26" fmla="*/ 2959914 w 6858001"/>
              <a:gd name="connsiteY26" fmla="*/ 244234 h 5529377"/>
              <a:gd name="connsiteX27" fmla="*/ 3095702 w 6858001"/>
              <a:gd name="connsiteY27" fmla="*/ 247091 h 5529377"/>
              <a:gd name="connsiteX28" fmla="*/ 3232862 w 6858001"/>
              <a:gd name="connsiteY28" fmla="*/ 250117 h 5529377"/>
              <a:gd name="connsiteX29" fmla="*/ 3372765 w 6858001"/>
              <a:gd name="connsiteY29" fmla="*/ 252134 h 5529377"/>
              <a:gd name="connsiteX30" fmla="*/ 3514040 w 6858001"/>
              <a:gd name="connsiteY30" fmla="*/ 252134 h 5529377"/>
              <a:gd name="connsiteX31" fmla="*/ 3656686 w 6858001"/>
              <a:gd name="connsiteY31" fmla="*/ 253142 h 5529377"/>
              <a:gd name="connsiteX32" fmla="*/ 3800704 w 6858001"/>
              <a:gd name="connsiteY32" fmla="*/ 252134 h 5529377"/>
              <a:gd name="connsiteX33" fmla="*/ 3946780 w 6858001"/>
              <a:gd name="connsiteY33" fmla="*/ 250117 h 5529377"/>
              <a:gd name="connsiteX34" fmla="*/ 4092855 w 6858001"/>
              <a:gd name="connsiteY34" fmla="*/ 248268 h 5529377"/>
              <a:gd name="connsiteX35" fmla="*/ 4240988 w 6858001"/>
              <a:gd name="connsiteY35" fmla="*/ 244234 h 5529377"/>
              <a:gd name="connsiteX36" fmla="*/ 4390492 w 6858001"/>
              <a:gd name="connsiteY36" fmla="*/ 240032 h 5529377"/>
              <a:gd name="connsiteX37" fmla="*/ 4539997 w 6858001"/>
              <a:gd name="connsiteY37" fmla="*/ 235157 h 5529377"/>
              <a:gd name="connsiteX38" fmla="*/ 4690873 w 6858001"/>
              <a:gd name="connsiteY38" fmla="*/ 228266 h 5529377"/>
              <a:gd name="connsiteX39" fmla="*/ 4843120 w 6858001"/>
              <a:gd name="connsiteY39" fmla="*/ 220029 h 5529377"/>
              <a:gd name="connsiteX40" fmla="*/ 4996054 w 6858001"/>
              <a:gd name="connsiteY40" fmla="*/ 212129 h 5529377"/>
              <a:gd name="connsiteX41" fmla="*/ 5148987 w 6858001"/>
              <a:gd name="connsiteY41" fmla="*/ 202044 h 5529377"/>
              <a:gd name="connsiteX42" fmla="*/ 5303978 w 6858001"/>
              <a:gd name="connsiteY42" fmla="*/ 189941 h 5529377"/>
              <a:gd name="connsiteX43" fmla="*/ 5456911 w 6858001"/>
              <a:gd name="connsiteY43" fmla="*/ 177839 h 5529377"/>
              <a:gd name="connsiteX44" fmla="*/ 5612588 w 6858001"/>
              <a:gd name="connsiteY44" fmla="*/ 163887 h 5529377"/>
              <a:gd name="connsiteX45" fmla="*/ 5768950 w 6858001"/>
              <a:gd name="connsiteY45" fmla="*/ 148591 h 5529377"/>
              <a:gd name="connsiteX46" fmla="*/ 5923255 w 6858001"/>
              <a:gd name="connsiteY46" fmla="*/ 132455 h 5529377"/>
              <a:gd name="connsiteX47" fmla="*/ 6079618 w 6858001"/>
              <a:gd name="connsiteY47" fmla="*/ 113629 h 5529377"/>
              <a:gd name="connsiteX48" fmla="*/ 6235294 w 6858001"/>
              <a:gd name="connsiteY48" fmla="*/ 93458 h 5529377"/>
              <a:gd name="connsiteX49" fmla="*/ 6391657 w 6858001"/>
              <a:gd name="connsiteY49" fmla="*/ 73455 h 5529377"/>
              <a:gd name="connsiteX50" fmla="*/ 6547333 w 6858001"/>
              <a:gd name="connsiteY50" fmla="*/ 50091 h 5529377"/>
              <a:gd name="connsiteX51" fmla="*/ 6702324 w 6858001"/>
              <a:gd name="connsiteY51" fmla="*/ 26222 h 5529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6858001" h="5529377">
                <a:moveTo>
                  <a:pt x="6858001" y="1177"/>
                </a:moveTo>
                <a:lnTo>
                  <a:pt x="6858001" y="1344715"/>
                </a:lnTo>
                <a:lnTo>
                  <a:pt x="6858000" y="1344715"/>
                </a:lnTo>
                <a:lnTo>
                  <a:pt x="6858000" y="5529377"/>
                </a:lnTo>
                <a:lnTo>
                  <a:pt x="0" y="5529376"/>
                </a:lnTo>
                <a:lnTo>
                  <a:pt x="0" y="891096"/>
                </a:lnTo>
                <a:lnTo>
                  <a:pt x="1" y="891096"/>
                </a:lnTo>
                <a:lnTo>
                  <a:pt x="1" y="0"/>
                </a:lnTo>
                <a:lnTo>
                  <a:pt x="40463" y="5883"/>
                </a:lnTo>
                <a:lnTo>
                  <a:pt x="159107" y="23196"/>
                </a:lnTo>
                <a:lnTo>
                  <a:pt x="245518" y="35299"/>
                </a:lnTo>
                <a:lnTo>
                  <a:pt x="348388" y="48073"/>
                </a:lnTo>
                <a:lnTo>
                  <a:pt x="470460" y="63369"/>
                </a:lnTo>
                <a:lnTo>
                  <a:pt x="605563" y="79506"/>
                </a:lnTo>
                <a:lnTo>
                  <a:pt x="757810" y="96483"/>
                </a:lnTo>
                <a:lnTo>
                  <a:pt x="923774" y="114469"/>
                </a:lnTo>
                <a:lnTo>
                  <a:pt x="1104139" y="132454"/>
                </a:lnTo>
                <a:lnTo>
                  <a:pt x="1296163" y="150776"/>
                </a:lnTo>
                <a:lnTo>
                  <a:pt x="1503275" y="167753"/>
                </a:lnTo>
                <a:lnTo>
                  <a:pt x="1719988" y="184058"/>
                </a:lnTo>
                <a:lnTo>
                  <a:pt x="1949045" y="198849"/>
                </a:lnTo>
                <a:lnTo>
                  <a:pt x="2187703" y="212969"/>
                </a:lnTo>
                <a:lnTo>
                  <a:pt x="2436649" y="226248"/>
                </a:lnTo>
                <a:lnTo>
                  <a:pt x="2564208" y="230955"/>
                </a:lnTo>
                <a:lnTo>
                  <a:pt x="2694509" y="236165"/>
                </a:lnTo>
                <a:lnTo>
                  <a:pt x="2826868" y="241040"/>
                </a:lnTo>
                <a:lnTo>
                  <a:pt x="2959914" y="244234"/>
                </a:lnTo>
                <a:lnTo>
                  <a:pt x="3095702" y="247091"/>
                </a:lnTo>
                <a:lnTo>
                  <a:pt x="3232862" y="250117"/>
                </a:lnTo>
                <a:lnTo>
                  <a:pt x="3372765" y="252134"/>
                </a:lnTo>
                <a:lnTo>
                  <a:pt x="3514040" y="252134"/>
                </a:lnTo>
                <a:lnTo>
                  <a:pt x="3656686" y="253142"/>
                </a:lnTo>
                <a:lnTo>
                  <a:pt x="3800704" y="252134"/>
                </a:lnTo>
                <a:lnTo>
                  <a:pt x="3946780" y="250117"/>
                </a:lnTo>
                <a:lnTo>
                  <a:pt x="4092855" y="248268"/>
                </a:lnTo>
                <a:lnTo>
                  <a:pt x="4240988" y="244234"/>
                </a:lnTo>
                <a:lnTo>
                  <a:pt x="4390492" y="240032"/>
                </a:lnTo>
                <a:lnTo>
                  <a:pt x="4539997" y="235157"/>
                </a:lnTo>
                <a:lnTo>
                  <a:pt x="4690873" y="228266"/>
                </a:lnTo>
                <a:lnTo>
                  <a:pt x="4843120" y="220029"/>
                </a:lnTo>
                <a:lnTo>
                  <a:pt x="4996054" y="212129"/>
                </a:lnTo>
                <a:lnTo>
                  <a:pt x="5148987" y="202044"/>
                </a:lnTo>
                <a:lnTo>
                  <a:pt x="5303978" y="189941"/>
                </a:lnTo>
                <a:lnTo>
                  <a:pt x="5456911" y="177839"/>
                </a:lnTo>
                <a:lnTo>
                  <a:pt x="5612588" y="163887"/>
                </a:lnTo>
                <a:lnTo>
                  <a:pt x="5768950" y="148591"/>
                </a:lnTo>
                <a:lnTo>
                  <a:pt x="5923255" y="132455"/>
                </a:lnTo>
                <a:lnTo>
                  <a:pt x="6079618" y="113629"/>
                </a:lnTo>
                <a:lnTo>
                  <a:pt x="6235294" y="93458"/>
                </a:lnTo>
                <a:lnTo>
                  <a:pt x="6391657" y="73455"/>
                </a:lnTo>
                <a:lnTo>
                  <a:pt x="6547333" y="50091"/>
                </a:lnTo>
                <a:lnTo>
                  <a:pt x="6702324" y="2622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36" name="Freeform 7">
            <a:extLst>
              <a:ext uri="{FF2B5EF4-FFF2-40B4-BE49-F238E27FC236}">
                <a16:creationId xmlns:a16="http://schemas.microsoft.com/office/drawing/2014/main" id="{E849FE61-12C4-4A06-A722-B545DE0C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49843" y="-1"/>
            <a:ext cx="559472" cy="3709642"/>
          </a:xfrm>
          <a:custGeom>
            <a:avLst/>
            <a:gdLst>
              <a:gd name="connsiteX0" fmla="*/ 0 w 559472"/>
              <a:gd name="connsiteY0" fmla="*/ 0 h 3709642"/>
              <a:gd name="connsiteX1" fmla="*/ 473952 w 559472"/>
              <a:gd name="connsiteY1" fmla="*/ 0 h 3709642"/>
              <a:gd name="connsiteX2" fmla="*/ 485840 w 559472"/>
              <a:gd name="connsiteY2" fmla="*/ 161194 h 3709642"/>
              <a:gd name="connsiteX3" fmla="*/ 523949 w 559472"/>
              <a:gd name="connsiteY3" fmla="*/ 3672197 h 3709642"/>
              <a:gd name="connsiteX4" fmla="*/ 454748 w 559472"/>
              <a:gd name="connsiteY4" fmla="*/ 3709642 h 3709642"/>
              <a:gd name="connsiteX5" fmla="*/ 448224 w 559472"/>
              <a:gd name="connsiteY5" fmla="*/ 3510471 h 3709642"/>
              <a:gd name="connsiteX6" fmla="*/ 443564 w 559472"/>
              <a:gd name="connsiteY6" fmla="*/ 3408563 h 3709642"/>
              <a:gd name="connsiteX7" fmla="*/ 438902 w 559472"/>
              <a:gd name="connsiteY7" fmla="*/ 3304407 h 3709642"/>
              <a:gd name="connsiteX8" fmla="*/ 433941 w 559472"/>
              <a:gd name="connsiteY8" fmla="*/ 3198777 h 3709642"/>
              <a:gd name="connsiteX9" fmla="*/ 427584 w 559472"/>
              <a:gd name="connsiteY9" fmla="*/ 3092510 h 3709642"/>
              <a:gd name="connsiteX10" fmla="*/ 420988 w 559472"/>
              <a:gd name="connsiteY10" fmla="*/ 2984390 h 3709642"/>
              <a:gd name="connsiteX11" fmla="*/ 414330 w 559472"/>
              <a:gd name="connsiteY11" fmla="*/ 2874401 h 3709642"/>
              <a:gd name="connsiteX12" fmla="*/ 406840 w 559472"/>
              <a:gd name="connsiteY12" fmla="*/ 2762980 h 3709642"/>
              <a:gd name="connsiteX13" fmla="*/ 397745 w 559472"/>
              <a:gd name="connsiteY13" fmla="*/ 2650566 h 3709642"/>
              <a:gd name="connsiteX14" fmla="*/ 389154 w 559472"/>
              <a:gd name="connsiteY14" fmla="*/ 2536612 h 3709642"/>
              <a:gd name="connsiteX15" fmla="*/ 379225 w 559472"/>
              <a:gd name="connsiteY15" fmla="*/ 2421642 h 3709642"/>
              <a:gd name="connsiteX16" fmla="*/ 368316 w 559472"/>
              <a:gd name="connsiteY16" fmla="*/ 2305627 h 3709642"/>
              <a:gd name="connsiteX17" fmla="*/ 357466 w 559472"/>
              <a:gd name="connsiteY17" fmla="*/ 2189233 h 3709642"/>
              <a:gd name="connsiteX18" fmla="*/ 344982 w 559472"/>
              <a:gd name="connsiteY18" fmla="*/ 2071473 h 3709642"/>
              <a:gd name="connsiteX19" fmla="*/ 332466 w 559472"/>
              <a:gd name="connsiteY19" fmla="*/ 1952216 h 3709642"/>
              <a:gd name="connsiteX20" fmla="*/ 319121 w 559472"/>
              <a:gd name="connsiteY20" fmla="*/ 1833776 h 3709642"/>
              <a:gd name="connsiteX21" fmla="*/ 304408 w 559472"/>
              <a:gd name="connsiteY21" fmla="*/ 1713948 h 3709642"/>
              <a:gd name="connsiteX22" fmla="*/ 288685 w 559472"/>
              <a:gd name="connsiteY22" fmla="*/ 1592703 h 3709642"/>
              <a:gd name="connsiteX23" fmla="*/ 273050 w 559472"/>
              <a:gd name="connsiteY23" fmla="*/ 1471451 h 3709642"/>
              <a:gd name="connsiteX24" fmla="*/ 255813 w 559472"/>
              <a:gd name="connsiteY24" fmla="*/ 1350328 h 3709642"/>
              <a:gd name="connsiteX25" fmla="*/ 237060 w 559472"/>
              <a:gd name="connsiteY25" fmla="*/ 1227080 h 3709642"/>
              <a:gd name="connsiteX26" fmla="*/ 218488 w 559472"/>
              <a:gd name="connsiteY26" fmla="*/ 1106065 h 3709642"/>
              <a:gd name="connsiteX27" fmla="*/ 198221 w 559472"/>
              <a:gd name="connsiteY27" fmla="*/ 982940 h 3709642"/>
              <a:gd name="connsiteX28" fmla="*/ 177152 w 559472"/>
              <a:gd name="connsiteY28" fmla="*/ 858755 h 3709642"/>
              <a:gd name="connsiteX29" fmla="*/ 155551 w 559472"/>
              <a:gd name="connsiteY29" fmla="*/ 736861 h 3709642"/>
              <a:gd name="connsiteX30" fmla="*/ 131782 w 559472"/>
              <a:gd name="connsiteY30" fmla="*/ 613645 h 3709642"/>
              <a:gd name="connsiteX31" fmla="*/ 107123 w 559472"/>
              <a:gd name="connsiteY31" fmla="*/ 490500 h 3709642"/>
              <a:gd name="connsiteX32" fmla="*/ 82552 w 559472"/>
              <a:gd name="connsiteY32" fmla="*/ 367348 h 3709642"/>
              <a:gd name="connsiteX33" fmla="*/ 55608 w 559472"/>
              <a:gd name="connsiteY33" fmla="*/ 244762 h 3709642"/>
              <a:gd name="connsiteX34" fmla="*/ 28130 w 559472"/>
              <a:gd name="connsiteY34" fmla="*/ 122220 h 3709642"/>
              <a:gd name="connsiteX35" fmla="*/ 0 w 559472"/>
              <a:gd name="connsiteY35" fmla="*/ 0 h 370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59472" h="3709642">
                <a:moveTo>
                  <a:pt x="0" y="0"/>
                </a:moveTo>
                <a:lnTo>
                  <a:pt x="473952" y="0"/>
                </a:lnTo>
                <a:lnTo>
                  <a:pt x="485840" y="161194"/>
                </a:lnTo>
                <a:cubicBezTo>
                  <a:pt x="552063" y="1147770"/>
                  <a:pt x="592441" y="3086737"/>
                  <a:pt x="523949" y="3672197"/>
                </a:cubicBezTo>
                <a:cubicBezTo>
                  <a:pt x="500842" y="3684557"/>
                  <a:pt x="477855" y="3697282"/>
                  <a:pt x="454748" y="3709642"/>
                </a:cubicBezTo>
                <a:lnTo>
                  <a:pt x="448224" y="3510471"/>
                </a:lnTo>
                <a:lnTo>
                  <a:pt x="443564" y="3408563"/>
                </a:lnTo>
                <a:lnTo>
                  <a:pt x="438902" y="3304407"/>
                </a:lnTo>
                <a:lnTo>
                  <a:pt x="433941" y="3198777"/>
                </a:lnTo>
                <a:lnTo>
                  <a:pt x="427584" y="3092510"/>
                </a:lnTo>
                <a:lnTo>
                  <a:pt x="420988" y="2984390"/>
                </a:lnTo>
                <a:lnTo>
                  <a:pt x="414330" y="2874401"/>
                </a:lnTo>
                <a:lnTo>
                  <a:pt x="406840" y="2762980"/>
                </a:lnTo>
                <a:lnTo>
                  <a:pt x="397745" y="2650566"/>
                </a:lnTo>
                <a:lnTo>
                  <a:pt x="389154" y="2536612"/>
                </a:lnTo>
                <a:lnTo>
                  <a:pt x="379225" y="2421642"/>
                </a:lnTo>
                <a:lnTo>
                  <a:pt x="368316" y="2305627"/>
                </a:lnTo>
                <a:lnTo>
                  <a:pt x="357466" y="2189233"/>
                </a:lnTo>
                <a:lnTo>
                  <a:pt x="344982" y="2071473"/>
                </a:lnTo>
                <a:lnTo>
                  <a:pt x="332466" y="1952216"/>
                </a:lnTo>
                <a:lnTo>
                  <a:pt x="319121" y="1833776"/>
                </a:lnTo>
                <a:lnTo>
                  <a:pt x="304408" y="1713948"/>
                </a:lnTo>
                <a:lnTo>
                  <a:pt x="288685" y="1592703"/>
                </a:lnTo>
                <a:lnTo>
                  <a:pt x="273050" y="1471451"/>
                </a:lnTo>
                <a:lnTo>
                  <a:pt x="255813" y="1350328"/>
                </a:lnTo>
                <a:lnTo>
                  <a:pt x="237060" y="1227080"/>
                </a:lnTo>
                <a:lnTo>
                  <a:pt x="218488" y="1106065"/>
                </a:lnTo>
                <a:lnTo>
                  <a:pt x="198221" y="982940"/>
                </a:lnTo>
                <a:lnTo>
                  <a:pt x="177152" y="858755"/>
                </a:lnTo>
                <a:lnTo>
                  <a:pt x="155551" y="736861"/>
                </a:lnTo>
                <a:lnTo>
                  <a:pt x="131782" y="613645"/>
                </a:lnTo>
                <a:lnTo>
                  <a:pt x="107123" y="490500"/>
                </a:lnTo>
                <a:lnTo>
                  <a:pt x="82552" y="367348"/>
                </a:lnTo>
                <a:lnTo>
                  <a:pt x="55608" y="244762"/>
                </a:lnTo>
                <a:lnTo>
                  <a:pt x="28130" y="12222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E304F6-372A-4C63-871B-4FAEFB8C78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63742" y="874925"/>
            <a:ext cx="3980139" cy="2228877"/>
          </a:xfrm>
          <a:prstGeom prst="rect">
            <a:avLst/>
          </a:prstGeom>
          <a:effectLst/>
        </p:spPr>
      </p:pic>
      <p:sp>
        <p:nvSpPr>
          <p:cNvPr id="37" name="Rectangle 26">
            <a:extLst>
              <a:ext uri="{FF2B5EF4-FFF2-40B4-BE49-F238E27FC236}">
                <a16:creationId xmlns:a16="http://schemas.microsoft.com/office/drawing/2014/main" id="{7FB12D8C-572F-4417-9FE1-D691A132F6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4244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108E24F-AA15-4C66-A02E-13AD38174ACD}"/>
              </a:ext>
            </a:extLst>
          </p:cNvPr>
          <p:cNvSpPr txBox="1"/>
          <p:nvPr/>
        </p:nvSpPr>
        <p:spPr>
          <a:xfrm>
            <a:off x="646112" y="2052918"/>
            <a:ext cx="5628635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 dirty="0">
                <a:latin typeface="+mj-lt"/>
                <a:ea typeface="+mj-ea"/>
                <a:cs typeface="+mj-cs"/>
              </a:rPr>
              <a:t> Neural Network: A computational model that works in a similar way to the neurons in the human brain. </a:t>
            </a: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endParaRPr lang="en-US" dirty="0">
              <a:latin typeface="+mj-lt"/>
              <a:ea typeface="+mj-ea"/>
              <a:cs typeface="+mj-cs"/>
            </a:endParaRPr>
          </a:p>
          <a:p>
            <a:pPr marL="0" indent="0"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 dirty="0">
                <a:latin typeface="+mj-lt"/>
                <a:ea typeface="+mj-ea"/>
                <a:cs typeface="+mj-cs"/>
              </a:rPr>
              <a:t> It consists of large number of highly interconnected neurons in it to carry information. </a:t>
            </a: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endParaRPr lang="en-US" dirty="0">
              <a:latin typeface="+mj-lt"/>
              <a:ea typeface="+mj-ea"/>
              <a:cs typeface="+mj-cs"/>
            </a:endParaRP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 dirty="0">
                <a:latin typeface="+mj-lt"/>
                <a:ea typeface="+mj-ea"/>
                <a:cs typeface="+mj-cs"/>
              </a:rPr>
              <a:t> Each neuron takes an input, performs some operations then passes the output to the following neuron.</a:t>
            </a:r>
          </a:p>
          <a:p>
            <a:pPr marL="0" indent="0"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endParaRPr lang="en-US" dirty="0">
              <a:latin typeface="+mj-lt"/>
              <a:ea typeface="+mj-ea"/>
              <a:cs typeface="+mj-cs"/>
            </a:endParaRPr>
          </a:p>
        </p:txBody>
      </p:sp>
      <p:pic>
        <p:nvPicPr>
          <p:cNvPr id="5" name="Picture 4" descr="A picture containing clock, drawing&#10;&#10;Description automatically generated">
            <a:extLst>
              <a:ext uri="{FF2B5EF4-FFF2-40B4-BE49-F238E27FC236}">
                <a16:creationId xmlns:a16="http://schemas.microsoft.com/office/drawing/2014/main" id="{41C9339B-2AA2-44BB-97A9-E7088D7190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47588" y="3526971"/>
            <a:ext cx="3412447" cy="2721427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8061205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ext, whiteboard&#10;&#10;Description automatically generated">
            <a:extLst>
              <a:ext uri="{FF2B5EF4-FFF2-40B4-BE49-F238E27FC236}">
                <a16:creationId xmlns:a16="http://schemas.microsoft.com/office/drawing/2014/main" id="{9D9ADF6A-FE59-4474-AB22-743456E5C89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056" r="18618"/>
          <a:stretch/>
        </p:blipFill>
        <p:spPr>
          <a:xfrm>
            <a:off x="808412" y="570702"/>
            <a:ext cx="6251957" cy="552529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EDFDF1E-1FCF-437D-A613-6097CB21459C}"/>
              </a:ext>
            </a:extLst>
          </p:cNvPr>
          <p:cNvSpPr txBox="1"/>
          <p:nvPr/>
        </p:nvSpPr>
        <p:spPr>
          <a:xfrm>
            <a:off x="7999412" y="2255520"/>
            <a:ext cx="388778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/>
              <a:t>Analyze text</a:t>
            </a:r>
          </a:p>
          <a:p>
            <a:endParaRPr lang="en-US" sz="2000" dirty="0"/>
          </a:p>
          <a:p>
            <a:endParaRPr lang="en-US" sz="20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/>
              <a:t>Topic Detection - </a:t>
            </a:r>
            <a:r>
              <a:rPr lang="en-US" sz="2000" b="0" i="0" dirty="0">
                <a:effectLst/>
              </a:rPr>
              <a:t>Identify the theme or topic of a piece of text     </a:t>
            </a:r>
          </a:p>
          <a:p>
            <a:endParaRPr lang="en-US" sz="2000" dirty="0">
              <a:cs typeface="Narkisim" panose="020B0604020202020204" pitchFamily="34" charset="-79"/>
            </a:endParaRPr>
          </a:p>
          <a:p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/>
              <a:t>Assign each document to classifier  </a:t>
            </a:r>
          </a:p>
          <a:p>
            <a:r>
              <a:rPr lang="en-US" sz="2000" b="0" i="0" dirty="0">
                <a:effectLst/>
              </a:rPr>
              <a:t>                      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AD132E7-150F-40AF-AC77-57F427357EEB}"/>
              </a:ext>
            </a:extLst>
          </p:cNvPr>
          <p:cNvSpPr txBox="1"/>
          <p:nvPr/>
        </p:nvSpPr>
        <p:spPr>
          <a:xfrm>
            <a:off x="7999412" y="1508239"/>
            <a:ext cx="3551083" cy="34892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Text Classification - Topic Analysis</a:t>
            </a:r>
          </a:p>
        </p:txBody>
      </p:sp>
    </p:spTree>
    <p:extLst>
      <p:ext uri="{BB962C8B-B14F-4D97-AF65-F5344CB8AC3E}">
        <p14:creationId xmlns:p14="http://schemas.microsoft.com/office/powerpoint/2010/main" val="38804779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572057" y="17704"/>
            <a:ext cx="9494838" cy="1700213"/>
          </a:xfrm>
        </p:spPr>
        <p:txBody>
          <a:bodyPr/>
          <a:lstStyle/>
          <a:p>
            <a:r>
              <a:rPr lang="en-US" sz="3900" dirty="0"/>
              <a:t>Assignment</a:t>
            </a:r>
            <a:r>
              <a:rPr lang="en-US" dirty="0"/>
              <a:t> </a:t>
            </a:r>
            <a:r>
              <a:rPr lang="en-US" sz="3900" dirty="0"/>
              <a:t>Goals</a:t>
            </a:r>
            <a:br>
              <a:rPr lang="en-US" dirty="0"/>
            </a:br>
            <a:r>
              <a:rPr lang="en-US" sz="1600" dirty="0"/>
              <a:t>About SDGs: </a:t>
            </a:r>
            <a:r>
              <a:rPr lang="en-US" sz="1800" b="0" i="0" u="none" strike="noStrike" baseline="0" dirty="0">
                <a:solidFill>
                  <a:schemeClr val="tx1"/>
                </a:solidFill>
                <a:latin typeface="Calibri" panose="020F0502020204030204" pitchFamily="34" charset="0"/>
              </a:rPr>
              <a:t>The Sustainable Development Goals (SDGs), also known as the Global Goals, were adopted by all United Nations Member States in 2015 as a universal call to action to end poverty, protect the planet and ensure that all people enjoy peace and prosperity by 2030. 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31445" y="1714500"/>
            <a:ext cx="4649241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 bwMode="auto">
          <a:xfrm>
            <a:off x="2011148" y="1658955"/>
            <a:ext cx="6616657" cy="9026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Implementation of a tool (desktop app) that takes as input a text and returns its SDG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DA1F2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2011148" y="3424784"/>
            <a:ext cx="6616657" cy="9026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0" dirty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rPr>
              <a:t>Train of a neural network model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2011148" y="5190613"/>
            <a:ext cx="6616657" cy="9026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39639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Classification of scientific papers in United Nations online library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DA1F2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POWER_USER_SHAPE_ICON_STYLE_5"/>
          <p:cNvSpPr/>
          <p:nvPr/>
        </p:nvSpPr>
        <p:spPr>
          <a:xfrm>
            <a:off x="864164" y="1685733"/>
            <a:ext cx="1005840" cy="1005840"/>
          </a:xfrm>
          <a:prstGeom prst="ellipse">
            <a:avLst/>
          </a:prstGeom>
          <a:noFill/>
          <a:ln w="28575" cap="flat" cmpd="sng" algn="ctr">
            <a:solidFill>
              <a:schemeClr val="accent2"/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1008339" y="1860918"/>
            <a:ext cx="670560" cy="586740"/>
            <a:chOff x="1003864" y="1860358"/>
            <a:chExt cx="629752" cy="551033"/>
          </a:xfrm>
          <a:solidFill>
            <a:schemeClr val="accent2"/>
          </a:solidFill>
        </p:grpSpPr>
        <p:sp>
          <p:nvSpPr>
            <p:cNvPr id="17" name="POWER_USER_ID_ICONS_Forklift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1401037" y="1959353"/>
              <a:ext cx="56057" cy="56057"/>
            </a:xfrm>
            <a:custGeom>
              <a:avLst/>
              <a:gdLst>
                <a:gd name="T0" fmla="*/ 55 w 111"/>
                <a:gd name="T1" fmla="*/ 112 h 112"/>
                <a:gd name="T2" fmla="*/ 111 w 111"/>
                <a:gd name="T3" fmla="*/ 56 h 112"/>
                <a:gd name="T4" fmla="*/ 55 w 111"/>
                <a:gd name="T5" fmla="*/ 0 h 112"/>
                <a:gd name="T6" fmla="*/ 54 w 111"/>
                <a:gd name="T7" fmla="*/ 0 h 112"/>
                <a:gd name="T8" fmla="*/ 0 w 111"/>
                <a:gd name="T9" fmla="*/ 56 h 112"/>
                <a:gd name="T10" fmla="*/ 55 w 111"/>
                <a:gd name="T11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112">
                  <a:moveTo>
                    <a:pt x="55" y="112"/>
                  </a:moveTo>
                  <a:cubicBezTo>
                    <a:pt x="86" y="112"/>
                    <a:pt x="111" y="87"/>
                    <a:pt x="111" y="56"/>
                  </a:cubicBezTo>
                  <a:cubicBezTo>
                    <a:pt x="111" y="25"/>
                    <a:pt x="86" y="0"/>
                    <a:pt x="55" y="0"/>
                  </a:cubicBezTo>
                  <a:lnTo>
                    <a:pt x="54" y="0"/>
                  </a:lnTo>
                  <a:cubicBezTo>
                    <a:pt x="24" y="1"/>
                    <a:pt x="0" y="26"/>
                    <a:pt x="0" y="56"/>
                  </a:cubicBezTo>
                  <a:cubicBezTo>
                    <a:pt x="0" y="87"/>
                    <a:pt x="25" y="112"/>
                    <a:pt x="55" y="1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POWER_USER_ID_ICONS_Forklift"/>
            <p:cNvSpPr>
              <a:spLocks noEditPoints="1"/>
            </p:cNvSpPr>
            <p:nvPr>
              <p:custDataLst>
                <p:tags r:id="rId28"/>
              </p:custDataLst>
            </p:nvPr>
          </p:nvSpPr>
          <p:spPr bwMode="auto">
            <a:xfrm>
              <a:off x="1003864" y="1860358"/>
              <a:ext cx="629752" cy="551033"/>
            </a:xfrm>
            <a:custGeom>
              <a:avLst/>
              <a:gdLst>
                <a:gd name="T0" fmla="*/ 1202 w 1250"/>
                <a:gd name="T1" fmla="*/ 585 h 1092"/>
                <a:gd name="T2" fmla="*/ 1034 w 1250"/>
                <a:gd name="T3" fmla="*/ 585 h 1092"/>
                <a:gd name="T4" fmla="*/ 1034 w 1250"/>
                <a:gd name="T5" fmla="*/ 162 h 1092"/>
                <a:gd name="T6" fmla="*/ 604 w 1250"/>
                <a:gd name="T7" fmla="*/ 114 h 1092"/>
                <a:gd name="T8" fmla="*/ 560 w 1250"/>
                <a:gd name="T9" fmla="*/ 149 h 1092"/>
                <a:gd name="T10" fmla="*/ 361 w 1250"/>
                <a:gd name="T11" fmla="*/ 822 h 1092"/>
                <a:gd name="T12" fmla="*/ 545 w 1250"/>
                <a:gd name="T13" fmla="*/ 14 h 1092"/>
                <a:gd name="T14" fmla="*/ 202 w 1250"/>
                <a:gd name="T15" fmla="*/ 1005 h 1092"/>
                <a:gd name="T16" fmla="*/ 0 w 1250"/>
                <a:gd name="T17" fmla="*/ 1005 h 1092"/>
                <a:gd name="T18" fmla="*/ 246 w 1250"/>
                <a:gd name="T19" fmla="*/ 1023 h 1092"/>
                <a:gd name="T20" fmla="*/ 451 w 1250"/>
                <a:gd name="T21" fmla="*/ 1092 h 1092"/>
                <a:gd name="T22" fmla="*/ 841 w 1250"/>
                <a:gd name="T23" fmla="*/ 1023 h 1092"/>
                <a:gd name="T24" fmla="*/ 1080 w 1250"/>
                <a:gd name="T25" fmla="*/ 1023 h 1092"/>
                <a:gd name="T26" fmla="*/ 1250 w 1250"/>
                <a:gd name="T27" fmla="*/ 633 h 1092"/>
                <a:gd name="T28" fmla="*/ 606 w 1250"/>
                <a:gd name="T29" fmla="*/ 162 h 1092"/>
                <a:gd name="T30" fmla="*/ 986 w 1250"/>
                <a:gd name="T31" fmla="*/ 162 h 1092"/>
                <a:gd name="T32" fmla="*/ 910 w 1250"/>
                <a:gd name="T33" fmla="*/ 585 h 1092"/>
                <a:gd name="T34" fmla="*/ 924 w 1250"/>
                <a:gd name="T35" fmla="*/ 324 h 1092"/>
                <a:gd name="T36" fmla="*/ 798 w 1250"/>
                <a:gd name="T37" fmla="*/ 312 h 1092"/>
                <a:gd name="T38" fmla="*/ 629 w 1250"/>
                <a:gd name="T39" fmla="*/ 439 h 1092"/>
                <a:gd name="T40" fmla="*/ 735 w 1250"/>
                <a:gd name="T41" fmla="*/ 470 h 1092"/>
                <a:gd name="T42" fmla="*/ 793 w 1250"/>
                <a:gd name="T43" fmla="*/ 541 h 1092"/>
                <a:gd name="T44" fmla="*/ 659 w 1250"/>
                <a:gd name="T45" fmla="*/ 708 h 1092"/>
                <a:gd name="T46" fmla="*/ 605 w 1250"/>
                <a:gd name="T47" fmla="*/ 162 h 1092"/>
                <a:gd name="T48" fmla="*/ 771 w 1250"/>
                <a:gd name="T49" fmla="*/ 633 h 1092"/>
                <a:gd name="T50" fmla="*/ 711 w 1250"/>
                <a:gd name="T51" fmla="*/ 708 h 1092"/>
                <a:gd name="T52" fmla="*/ 771 w 1250"/>
                <a:gd name="T53" fmla="*/ 593 h 1092"/>
                <a:gd name="T54" fmla="*/ 395 w 1250"/>
                <a:gd name="T55" fmla="*/ 992 h 1092"/>
                <a:gd name="T56" fmla="*/ 506 w 1250"/>
                <a:gd name="T57" fmla="*/ 992 h 1092"/>
                <a:gd name="T58" fmla="*/ 960 w 1250"/>
                <a:gd name="T59" fmla="*/ 1041 h 1092"/>
                <a:gd name="T60" fmla="*/ 960 w 1250"/>
                <a:gd name="T61" fmla="*/ 866 h 1092"/>
                <a:gd name="T62" fmla="*/ 960 w 1250"/>
                <a:gd name="T63" fmla="*/ 1041 h 1092"/>
                <a:gd name="T64" fmla="*/ 1097 w 1250"/>
                <a:gd name="T65" fmla="*/ 975 h 1092"/>
                <a:gd name="T66" fmla="*/ 960 w 1250"/>
                <a:gd name="T67" fmla="*/ 815 h 1092"/>
                <a:gd name="T68" fmla="*/ 824 w 1250"/>
                <a:gd name="T69" fmla="*/ 975 h 1092"/>
                <a:gd name="T70" fmla="*/ 451 w 1250"/>
                <a:gd name="T71" fmla="*/ 892 h 1092"/>
                <a:gd name="T72" fmla="*/ 260 w 1250"/>
                <a:gd name="T73" fmla="*/ 975 h 1092"/>
                <a:gd name="T74" fmla="*/ 396 w 1250"/>
                <a:gd name="T75" fmla="*/ 870 h 1092"/>
                <a:gd name="T76" fmla="*/ 819 w 1250"/>
                <a:gd name="T77" fmla="*/ 755 h 1092"/>
                <a:gd name="T78" fmla="*/ 1202 w 1250"/>
                <a:gd name="T79" fmla="*/ 633 h 10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50" h="1092">
                  <a:moveTo>
                    <a:pt x="1250" y="633"/>
                  </a:moveTo>
                  <a:cubicBezTo>
                    <a:pt x="1250" y="606"/>
                    <a:pt x="1229" y="585"/>
                    <a:pt x="1202" y="585"/>
                  </a:cubicBezTo>
                  <a:lnTo>
                    <a:pt x="1202" y="585"/>
                  </a:lnTo>
                  <a:lnTo>
                    <a:pt x="1034" y="585"/>
                  </a:lnTo>
                  <a:lnTo>
                    <a:pt x="1034" y="162"/>
                  </a:lnTo>
                  <a:lnTo>
                    <a:pt x="1034" y="162"/>
                  </a:lnTo>
                  <a:cubicBezTo>
                    <a:pt x="1034" y="136"/>
                    <a:pt x="1013" y="114"/>
                    <a:pt x="986" y="114"/>
                  </a:cubicBezTo>
                  <a:lnTo>
                    <a:pt x="604" y="114"/>
                  </a:lnTo>
                  <a:lnTo>
                    <a:pt x="604" y="115"/>
                  </a:lnTo>
                  <a:cubicBezTo>
                    <a:pt x="583" y="115"/>
                    <a:pt x="566" y="129"/>
                    <a:pt x="560" y="149"/>
                  </a:cubicBezTo>
                  <a:lnTo>
                    <a:pt x="560" y="149"/>
                  </a:lnTo>
                  <a:lnTo>
                    <a:pt x="361" y="822"/>
                  </a:lnTo>
                  <a:lnTo>
                    <a:pt x="306" y="822"/>
                  </a:lnTo>
                  <a:lnTo>
                    <a:pt x="545" y="14"/>
                  </a:lnTo>
                  <a:lnTo>
                    <a:pt x="499" y="0"/>
                  </a:lnTo>
                  <a:lnTo>
                    <a:pt x="202" y="1005"/>
                  </a:lnTo>
                  <a:lnTo>
                    <a:pt x="11" y="959"/>
                  </a:lnTo>
                  <a:lnTo>
                    <a:pt x="0" y="1005"/>
                  </a:lnTo>
                  <a:lnTo>
                    <a:pt x="235" y="1062"/>
                  </a:lnTo>
                  <a:lnTo>
                    <a:pt x="246" y="1023"/>
                  </a:lnTo>
                  <a:lnTo>
                    <a:pt x="355" y="1023"/>
                  </a:lnTo>
                  <a:cubicBezTo>
                    <a:pt x="368" y="1063"/>
                    <a:pt x="406" y="1092"/>
                    <a:pt x="451" y="1092"/>
                  </a:cubicBezTo>
                  <a:cubicBezTo>
                    <a:pt x="495" y="1092"/>
                    <a:pt x="533" y="1063"/>
                    <a:pt x="546" y="1023"/>
                  </a:cubicBezTo>
                  <a:lnTo>
                    <a:pt x="841" y="1023"/>
                  </a:lnTo>
                  <a:cubicBezTo>
                    <a:pt x="864" y="1064"/>
                    <a:pt x="909" y="1092"/>
                    <a:pt x="960" y="1092"/>
                  </a:cubicBezTo>
                  <a:cubicBezTo>
                    <a:pt x="1012" y="1092"/>
                    <a:pt x="1056" y="1064"/>
                    <a:pt x="1080" y="1023"/>
                  </a:cubicBezTo>
                  <a:lnTo>
                    <a:pt x="1250" y="1023"/>
                  </a:lnTo>
                  <a:lnTo>
                    <a:pt x="1250" y="633"/>
                  </a:lnTo>
                  <a:close/>
                  <a:moveTo>
                    <a:pt x="605" y="162"/>
                  </a:moveTo>
                  <a:lnTo>
                    <a:pt x="606" y="162"/>
                  </a:lnTo>
                  <a:lnTo>
                    <a:pt x="606" y="162"/>
                  </a:lnTo>
                  <a:lnTo>
                    <a:pt x="986" y="162"/>
                  </a:lnTo>
                  <a:lnTo>
                    <a:pt x="986" y="585"/>
                  </a:lnTo>
                  <a:lnTo>
                    <a:pt x="910" y="585"/>
                  </a:lnTo>
                  <a:cubicBezTo>
                    <a:pt x="919" y="578"/>
                    <a:pt x="924" y="570"/>
                    <a:pt x="924" y="564"/>
                  </a:cubicBezTo>
                  <a:lnTo>
                    <a:pt x="924" y="324"/>
                  </a:lnTo>
                  <a:cubicBezTo>
                    <a:pt x="921" y="313"/>
                    <a:pt x="911" y="299"/>
                    <a:pt x="906" y="298"/>
                  </a:cubicBezTo>
                  <a:cubicBezTo>
                    <a:pt x="885" y="323"/>
                    <a:pt x="845" y="334"/>
                    <a:pt x="798" y="312"/>
                  </a:cubicBezTo>
                  <a:cubicBezTo>
                    <a:pt x="798" y="312"/>
                    <a:pt x="747" y="382"/>
                    <a:pt x="702" y="420"/>
                  </a:cubicBezTo>
                  <a:cubicBezTo>
                    <a:pt x="693" y="424"/>
                    <a:pt x="629" y="439"/>
                    <a:pt x="629" y="439"/>
                  </a:cubicBezTo>
                  <a:lnTo>
                    <a:pt x="639" y="489"/>
                  </a:lnTo>
                  <a:lnTo>
                    <a:pt x="735" y="470"/>
                  </a:lnTo>
                  <a:lnTo>
                    <a:pt x="793" y="406"/>
                  </a:lnTo>
                  <a:lnTo>
                    <a:pt x="793" y="541"/>
                  </a:lnTo>
                  <a:lnTo>
                    <a:pt x="659" y="541"/>
                  </a:lnTo>
                  <a:lnTo>
                    <a:pt x="659" y="708"/>
                  </a:lnTo>
                  <a:lnTo>
                    <a:pt x="444" y="708"/>
                  </a:lnTo>
                  <a:lnTo>
                    <a:pt x="605" y="162"/>
                  </a:lnTo>
                  <a:close/>
                  <a:moveTo>
                    <a:pt x="771" y="593"/>
                  </a:moveTo>
                  <a:lnTo>
                    <a:pt x="771" y="633"/>
                  </a:lnTo>
                  <a:lnTo>
                    <a:pt x="771" y="708"/>
                  </a:lnTo>
                  <a:lnTo>
                    <a:pt x="711" y="708"/>
                  </a:lnTo>
                  <a:lnTo>
                    <a:pt x="711" y="593"/>
                  </a:lnTo>
                  <a:lnTo>
                    <a:pt x="771" y="593"/>
                  </a:lnTo>
                  <a:close/>
                  <a:moveTo>
                    <a:pt x="451" y="1048"/>
                  </a:moveTo>
                  <a:cubicBezTo>
                    <a:pt x="420" y="1048"/>
                    <a:pt x="395" y="1023"/>
                    <a:pt x="395" y="992"/>
                  </a:cubicBezTo>
                  <a:cubicBezTo>
                    <a:pt x="395" y="961"/>
                    <a:pt x="420" y="936"/>
                    <a:pt x="451" y="936"/>
                  </a:cubicBezTo>
                  <a:cubicBezTo>
                    <a:pt x="481" y="936"/>
                    <a:pt x="506" y="961"/>
                    <a:pt x="506" y="992"/>
                  </a:cubicBezTo>
                  <a:cubicBezTo>
                    <a:pt x="506" y="1023"/>
                    <a:pt x="481" y="1048"/>
                    <a:pt x="451" y="1048"/>
                  </a:cubicBezTo>
                  <a:close/>
                  <a:moveTo>
                    <a:pt x="960" y="1041"/>
                  </a:moveTo>
                  <a:cubicBezTo>
                    <a:pt x="912" y="1041"/>
                    <a:pt x="873" y="1002"/>
                    <a:pt x="873" y="954"/>
                  </a:cubicBezTo>
                  <a:cubicBezTo>
                    <a:pt x="873" y="906"/>
                    <a:pt x="912" y="866"/>
                    <a:pt x="960" y="866"/>
                  </a:cubicBezTo>
                  <a:cubicBezTo>
                    <a:pt x="1009" y="866"/>
                    <a:pt x="1048" y="906"/>
                    <a:pt x="1048" y="954"/>
                  </a:cubicBezTo>
                  <a:cubicBezTo>
                    <a:pt x="1048" y="1002"/>
                    <a:pt x="1009" y="1041"/>
                    <a:pt x="960" y="1041"/>
                  </a:cubicBezTo>
                  <a:close/>
                  <a:moveTo>
                    <a:pt x="1202" y="975"/>
                  </a:moveTo>
                  <a:lnTo>
                    <a:pt x="1097" y="975"/>
                  </a:lnTo>
                  <a:cubicBezTo>
                    <a:pt x="1098" y="968"/>
                    <a:pt x="1099" y="961"/>
                    <a:pt x="1099" y="954"/>
                  </a:cubicBezTo>
                  <a:cubicBezTo>
                    <a:pt x="1099" y="877"/>
                    <a:pt x="1037" y="815"/>
                    <a:pt x="960" y="815"/>
                  </a:cubicBezTo>
                  <a:cubicBezTo>
                    <a:pt x="884" y="815"/>
                    <a:pt x="822" y="877"/>
                    <a:pt x="822" y="954"/>
                  </a:cubicBezTo>
                  <a:cubicBezTo>
                    <a:pt x="822" y="961"/>
                    <a:pt x="823" y="968"/>
                    <a:pt x="824" y="975"/>
                  </a:cubicBezTo>
                  <a:lnTo>
                    <a:pt x="549" y="975"/>
                  </a:lnTo>
                  <a:cubicBezTo>
                    <a:pt x="541" y="928"/>
                    <a:pt x="500" y="892"/>
                    <a:pt x="451" y="892"/>
                  </a:cubicBezTo>
                  <a:cubicBezTo>
                    <a:pt x="401" y="892"/>
                    <a:pt x="360" y="928"/>
                    <a:pt x="352" y="975"/>
                  </a:cubicBezTo>
                  <a:lnTo>
                    <a:pt x="260" y="975"/>
                  </a:lnTo>
                  <a:lnTo>
                    <a:pt x="291" y="870"/>
                  </a:lnTo>
                  <a:lnTo>
                    <a:pt x="396" y="870"/>
                  </a:lnTo>
                  <a:lnTo>
                    <a:pt x="430" y="755"/>
                  </a:lnTo>
                  <a:lnTo>
                    <a:pt x="819" y="755"/>
                  </a:lnTo>
                  <a:lnTo>
                    <a:pt x="819" y="633"/>
                  </a:lnTo>
                  <a:lnTo>
                    <a:pt x="1202" y="633"/>
                  </a:lnTo>
                  <a:lnTo>
                    <a:pt x="1202" y="97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" name="POWER_USER_SHAPE_ICON_STYLE_5"/>
          <p:cNvSpPr/>
          <p:nvPr/>
        </p:nvSpPr>
        <p:spPr>
          <a:xfrm>
            <a:off x="901882" y="3397489"/>
            <a:ext cx="1005840" cy="1005840"/>
          </a:xfrm>
          <a:prstGeom prst="ellipse">
            <a:avLst/>
          </a:prstGeom>
          <a:noFill/>
          <a:ln w="28575" cap="flat" cmpd="sng" algn="ctr">
            <a:solidFill>
              <a:schemeClr val="accent3"/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4"/>
          <p:cNvGrpSpPr>
            <a:grpSpLocks noChangeAspect="1"/>
          </p:cNvGrpSpPr>
          <p:nvPr/>
        </p:nvGrpSpPr>
        <p:grpSpPr>
          <a:xfrm>
            <a:off x="1103784" y="3565129"/>
            <a:ext cx="602036" cy="670560"/>
            <a:chOff x="1054838" y="3524489"/>
            <a:chExt cx="644367" cy="717709"/>
          </a:xfrm>
          <a:solidFill>
            <a:schemeClr val="accent3"/>
          </a:solidFill>
        </p:grpSpPr>
        <p:sp>
          <p:nvSpPr>
            <p:cNvPr id="24" name="POWER_USER_ID_ICONS_Atomic"/>
            <p:cNvSpPr>
              <a:spLocks noEditPoints="1"/>
            </p:cNvSpPr>
            <p:nvPr>
              <p:custDataLst>
                <p:tags r:id="rId18"/>
              </p:custDataLst>
            </p:nvPr>
          </p:nvSpPr>
          <p:spPr bwMode="auto">
            <a:xfrm>
              <a:off x="1252164" y="3524489"/>
              <a:ext cx="247968" cy="717709"/>
            </a:xfrm>
            <a:custGeom>
              <a:avLst/>
              <a:gdLst>
                <a:gd name="T0" fmla="*/ 154 w 308"/>
                <a:gd name="T1" fmla="*/ 0 h 889"/>
                <a:gd name="T2" fmla="*/ 90 w 308"/>
                <a:gd name="T3" fmla="*/ 39 h 889"/>
                <a:gd name="T4" fmla="*/ 43 w 308"/>
                <a:gd name="T5" fmla="*/ 135 h 889"/>
                <a:gd name="T6" fmla="*/ 0 w 308"/>
                <a:gd name="T7" fmla="*/ 445 h 889"/>
                <a:gd name="T8" fmla="*/ 43 w 308"/>
                <a:gd name="T9" fmla="*/ 755 h 889"/>
                <a:gd name="T10" fmla="*/ 90 w 308"/>
                <a:gd name="T11" fmla="*/ 851 h 889"/>
                <a:gd name="T12" fmla="*/ 154 w 308"/>
                <a:gd name="T13" fmla="*/ 889 h 889"/>
                <a:gd name="T14" fmla="*/ 218 w 308"/>
                <a:gd name="T15" fmla="*/ 851 h 889"/>
                <a:gd name="T16" fmla="*/ 265 w 308"/>
                <a:gd name="T17" fmla="*/ 755 h 889"/>
                <a:gd name="T18" fmla="*/ 308 w 308"/>
                <a:gd name="T19" fmla="*/ 445 h 889"/>
                <a:gd name="T20" fmla="*/ 265 w 308"/>
                <a:gd name="T21" fmla="*/ 135 h 889"/>
                <a:gd name="T22" fmla="*/ 218 w 308"/>
                <a:gd name="T23" fmla="*/ 39 h 889"/>
                <a:gd name="T24" fmla="*/ 154 w 308"/>
                <a:gd name="T25" fmla="*/ 0 h 889"/>
                <a:gd name="T26" fmla="*/ 154 w 308"/>
                <a:gd name="T27" fmla="*/ 20 h 889"/>
                <a:gd name="T28" fmla="*/ 202 w 308"/>
                <a:gd name="T29" fmla="*/ 51 h 889"/>
                <a:gd name="T30" fmla="*/ 247 w 308"/>
                <a:gd name="T31" fmla="*/ 141 h 889"/>
                <a:gd name="T32" fmla="*/ 288 w 308"/>
                <a:gd name="T33" fmla="*/ 445 h 889"/>
                <a:gd name="T34" fmla="*/ 247 w 308"/>
                <a:gd name="T35" fmla="*/ 748 h 889"/>
                <a:gd name="T36" fmla="*/ 202 w 308"/>
                <a:gd name="T37" fmla="*/ 838 h 889"/>
                <a:gd name="T38" fmla="*/ 154 w 308"/>
                <a:gd name="T39" fmla="*/ 869 h 889"/>
                <a:gd name="T40" fmla="*/ 106 w 308"/>
                <a:gd name="T41" fmla="*/ 838 h 889"/>
                <a:gd name="T42" fmla="*/ 62 w 308"/>
                <a:gd name="T43" fmla="*/ 748 h 889"/>
                <a:gd name="T44" fmla="*/ 20 w 308"/>
                <a:gd name="T45" fmla="*/ 445 h 889"/>
                <a:gd name="T46" fmla="*/ 62 w 308"/>
                <a:gd name="T47" fmla="*/ 141 h 889"/>
                <a:gd name="T48" fmla="*/ 106 w 308"/>
                <a:gd name="T49" fmla="*/ 51 h 889"/>
                <a:gd name="T50" fmla="*/ 154 w 308"/>
                <a:gd name="T51" fmla="*/ 20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8" h="889">
                  <a:moveTo>
                    <a:pt x="154" y="0"/>
                  </a:moveTo>
                  <a:cubicBezTo>
                    <a:pt x="130" y="0"/>
                    <a:pt x="109" y="15"/>
                    <a:pt x="90" y="39"/>
                  </a:cubicBezTo>
                  <a:cubicBezTo>
                    <a:pt x="72" y="62"/>
                    <a:pt x="56" y="95"/>
                    <a:pt x="43" y="135"/>
                  </a:cubicBezTo>
                  <a:cubicBezTo>
                    <a:pt x="16" y="214"/>
                    <a:pt x="0" y="324"/>
                    <a:pt x="0" y="445"/>
                  </a:cubicBezTo>
                  <a:cubicBezTo>
                    <a:pt x="0" y="565"/>
                    <a:pt x="16" y="675"/>
                    <a:pt x="43" y="755"/>
                  </a:cubicBezTo>
                  <a:cubicBezTo>
                    <a:pt x="56" y="795"/>
                    <a:pt x="72" y="827"/>
                    <a:pt x="90" y="851"/>
                  </a:cubicBezTo>
                  <a:cubicBezTo>
                    <a:pt x="109" y="874"/>
                    <a:pt x="130" y="889"/>
                    <a:pt x="154" y="889"/>
                  </a:cubicBezTo>
                  <a:cubicBezTo>
                    <a:pt x="178" y="889"/>
                    <a:pt x="200" y="874"/>
                    <a:pt x="218" y="851"/>
                  </a:cubicBezTo>
                  <a:cubicBezTo>
                    <a:pt x="237" y="827"/>
                    <a:pt x="252" y="795"/>
                    <a:pt x="265" y="755"/>
                  </a:cubicBezTo>
                  <a:cubicBezTo>
                    <a:pt x="292" y="675"/>
                    <a:pt x="308" y="565"/>
                    <a:pt x="308" y="445"/>
                  </a:cubicBezTo>
                  <a:cubicBezTo>
                    <a:pt x="308" y="324"/>
                    <a:pt x="292" y="214"/>
                    <a:pt x="265" y="135"/>
                  </a:cubicBezTo>
                  <a:cubicBezTo>
                    <a:pt x="252" y="95"/>
                    <a:pt x="237" y="62"/>
                    <a:pt x="218" y="39"/>
                  </a:cubicBezTo>
                  <a:cubicBezTo>
                    <a:pt x="200" y="15"/>
                    <a:pt x="178" y="0"/>
                    <a:pt x="154" y="0"/>
                  </a:cubicBezTo>
                  <a:close/>
                  <a:moveTo>
                    <a:pt x="154" y="20"/>
                  </a:moveTo>
                  <a:cubicBezTo>
                    <a:pt x="170" y="20"/>
                    <a:pt x="186" y="30"/>
                    <a:pt x="202" y="51"/>
                  </a:cubicBezTo>
                  <a:cubicBezTo>
                    <a:pt x="218" y="71"/>
                    <a:pt x="234" y="102"/>
                    <a:pt x="247" y="141"/>
                  </a:cubicBezTo>
                  <a:cubicBezTo>
                    <a:pt x="272" y="218"/>
                    <a:pt x="288" y="326"/>
                    <a:pt x="288" y="445"/>
                  </a:cubicBezTo>
                  <a:cubicBezTo>
                    <a:pt x="288" y="563"/>
                    <a:pt x="272" y="671"/>
                    <a:pt x="247" y="748"/>
                  </a:cubicBezTo>
                  <a:cubicBezTo>
                    <a:pt x="234" y="787"/>
                    <a:pt x="218" y="818"/>
                    <a:pt x="202" y="838"/>
                  </a:cubicBezTo>
                  <a:cubicBezTo>
                    <a:pt x="186" y="859"/>
                    <a:pt x="170" y="869"/>
                    <a:pt x="154" y="869"/>
                  </a:cubicBezTo>
                  <a:cubicBezTo>
                    <a:pt x="138" y="869"/>
                    <a:pt x="122" y="859"/>
                    <a:pt x="106" y="838"/>
                  </a:cubicBezTo>
                  <a:cubicBezTo>
                    <a:pt x="90" y="818"/>
                    <a:pt x="75" y="787"/>
                    <a:pt x="62" y="748"/>
                  </a:cubicBezTo>
                  <a:cubicBezTo>
                    <a:pt x="36" y="671"/>
                    <a:pt x="20" y="563"/>
                    <a:pt x="20" y="445"/>
                  </a:cubicBezTo>
                  <a:cubicBezTo>
                    <a:pt x="20" y="326"/>
                    <a:pt x="36" y="218"/>
                    <a:pt x="62" y="141"/>
                  </a:cubicBezTo>
                  <a:cubicBezTo>
                    <a:pt x="75" y="102"/>
                    <a:pt x="90" y="71"/>
                    <a:pt x="106" y="51"/>
                  </a:cubicBezTo>
                  <a:cubicBezTo>
                    <a:pt x="122" y="30"/>
                    <a:pt x="138" y="20"/>
                    <a:pt x="154" y="2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POWER_USER_ID_ICONS_Atomic"/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auto">
            <a:xfrm>
              <a:off x="1100241" y="3618787"/>
              <a:ext cx="553562" cy="529114"/>
            </a:xfrm>
            <a:custGeom>
              <a:avLst/>
              <a:gdLst>
                <a:gd name="T0" fmla="*/ 667 w 688"/>
                <a:gd name="T1" fmla="*/ 23 h 655"/>
                <a:gd name="T2" fmla="*/ 596 w 688"/>
                <a:gd name="T3" fmla="*/ 3 h 655"/>
                <a:gd name="T4" fmla="*/ 494 w 688"/>
                <a:gd name="T5" fmla="*/ 34 h 655"/>
                <a:gd name="T6" fmla="*/ 239 w 688"/>
                <a:gd name="T7" fmla="*/ 216 h 655"/>
                <a:gd name="T8" fmla="*/ 42 w 688"/>
                <a:gd name="T9" fmla="*/ 459 h 655"/>
                <a:gd name="T10" fmla="*/ 5 w 688"/>
                <a:gd name="T11" fmla="*/ 560 h 655"/>
                <a:gd name="T12" fmla="*/ 21 w 688"/>
                <a:gd name="T13" fmla="*/ 632 h 655"/>
                <a:gd name="T14" fmla="*/ 93 w 688"/>
                <a:gd name="T15" fmla="*/ 653 h 655"/>
                <a:gd name="T16" fmla="*/ 195 w 688"/>
                <a:gd name="T17" fmla="*/ 621 h 655"/>
                <a:gd name="T18" fmla="*/ 450 w 688"/>
                <a:gd name="T19" fmla="*/ 440 h 655"/>
                <a:gd name="T20" fmla="*/ 646 w 688"/>
                <a:gd name="T21" fmla="*/ 196 h 655"/>
                <a:gd name="T22" fmla="*/ 684 w 688"/>
                <a:gd name="T23" fmla="*/ 96 h 655"/>
                <a:gd name="T24" fmla="*/ 667 w 688"/>
                <a:gd name="T25" fmla="*/ 23 h 655"/>
                <a:gd name="T26" fmla="*/ 653 w 688"/>
                <a:gd name="T27" fmla="*/ 37 h 655"/>
                <a:gd name="T28" fmla="*/ 664 w 688"/>
                <a:gd name="T29" fmla="*/ 92 h 655"/>
                <a:gd name="T30" fmla="*/ 629 w 688"/>
                <a:gd name="T31" fmla="*/ 186 h 655"/>
                <a:gd name="T32" fmla="*/ 436 w 688"/>
                <a:gd name="T33" fmla="*/ 425 h 655"/>
                <a:gd name="T34" fmla="*/ 187 w 688"/>
                <a:gd name="T35" fmla="*/ 603 h 655"/>
                <a:gd name="T36" fmla="*/ 91 w 688"/>
                <a:gd name="T37" fmla="*/ 633 h 655"/>
                <a:gd name="T38" fmla="*/ 36 w 688"/>
                <a:gd name="T39" fmla="*/ 618 h 655"/>
                <a:gd name="T40" fmla="*/ 25 w 688"/>
                <a:gd name="T41" fmla="*/ 562 h 655"/>
                <a:gd name="T42" fmla="*/ 60 w 688"/>
                <a:gd name="T43" fmla="*/ 469 h 655"/>
                <a:gd name="T44" fmla="*/ 253 w 688"/>
                <a:gd name="T45" fmla="*/ 230 h 655"/>
                <a:gd name="T46" fmla="*/ 502 w 688"/>
                <a:gd name="T47" fmla="*/ 52 h 655"/>
                <a:gd name="T48" fmla="*/ 598 w 688"/>
                <a:gd name="T49" fmla="*/ 22 h 655"/>
                <a:gd name="T50" fmla="*/ 653 w 688"/>
                <a:gd name="T51" fmla="*/ 37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88" h="655">
                  <a:moveTo>
                    <a:pt x="667" y="23"/>
                  </a:moveTo>
                  <a:cubicBezTo>
                    <a:pt x="651" y="6"/>
                    <a:pt x="626" y="0"/>
                    <a:pt x="596" y="3"/>
                  </a:cubicBezTo>
                  <a:cubicBezTo>
                    <a:pt x="566" y="5"/>
                    <a:pt x="532" y="16"/>
                    <a:pt x="494" y="34"/>
                  </a:cubicBezTo>
                  <a:cubicBezTo>
                    <a:pt x="417" y="69"/>
                    <a:pt x="327" y="133"/>
                    <a:pt x="239" y="216"/>
                  </a:cubicBezTo>
                  <a:cubicBezTo>
                    <a:pt x="151" y="298"/>
                    <a:pt x="82" y="385"/>
                    <a:pt x="42" y="459"/>
                  </a:cubicBezTo>
                  <a:cubicBezTo>
                    <a:pt x="22" y="496"/>
                    <a:pt x="9" y="530"/>
                    <a:pt x="5" y="560"/>
                  </a:cubicBezTo>
                  <a:cubicBezTo>
                    <a:pt x="0" y="589"/>
                    <a:pt x="5" y="615"/>
                    <a:pt x="21" y="632"/>
                  </a:cubicBezTo>
                  <a:cubicBezTo>
                    <a:pt x="38" y="649"/>
                    <a:pt x="63" y="655"/>
                    <a:pt x="93" y="653"/>
                  </a:cubicBezTo>
                  <a:cubicBezTo>
                    <a:pt x="122" y="650"/>
                    <a:pt x="157" y="639"/>
                    <a:pt x="195" y="621"/>
                  </a:cubicBezTo>
                  <a:cubicBezTo>
                    <a:pt x="271" y="586"/>
                    <a:pt x="362" y="522"/>
                    <a:pt x="450" y="440"/>
                  </a:cubicBezTo>
                  <a:cubicBezTo>
                    <a:pt x="538" y="357"/>
                    <a:pt x="606" y="270"/>
                    <a:pt x="646" y="196"/>
                  </a:cubicBezTo>
                  <a:cubicBezTo>
                    <a:pt x="666" y="159"/>
                    <a:pt x="679" y="125"/>
                    <a:pt x="684" y="96"/>
                  </a:cubicBezTo>
                  <a:cubicBezTo>
                    <a:pt x="688" y="66"/>
                    <a:pt x="684" y="40"/>
                    <a:pt x="667" y="23"/>
                  </a:cubicBezTo>
                  <a:close/>
                  <a:moveTo>
                    <a:pt x="653" y="37"/>
                  </a:moveTo>
                  <a:cubicBezTo>
                    <a:pt x="664" y="48"/>
                    <a:pt x="668" y="67"/>
                    <a:pt x="664" y="92"/>
                  </a:cubicBezTo>
                  <a:cubicBezTo>
                    <a:pt x="660" y="118"/>
                    <a:pt x="648" y="151"/>
                    <a:pt x="629" y="186"/>
                  </a:cubicBezTo>
                  <a:cubicBezTo>
                    <a:pt x="590" y="258"/>
                    <a:pt x="523" y="343"/>
                    <a:pt x="436" y="425"/>
                  </a:cubicBezTo>
                  <a:cubicBezTo>
                    <a:pt x="350" y="507"/>
                    <a:pt x="260" y="569"/>
                    <a:pt x="187" y="603"/>
                  </a:cubicBezTo>
                  <a:cubicBezTo>
                    <a:pt x="150" y="620"/>
                    <a:pt x="117" y="630"/>
                    <a:pt x="91" y="633"/>
                  </a:cubicBezTo>
                  <a:cubicBezTo>
                    <a:pt x="65" y="635"/>
                    <a:pt x="46" y="630"/>
                    <a:pt x="36" y="618"/>
                  </a:cubicBezTo>
                  <a:cubicBezTo>
                    <a:pt x="25" y="607"/>
                    <a:pt x="21" y="588"/>
                    <a:pt x="25" y="562"/>
                  </a:cubicBezTo>
                  <a:cubicBezTo>
                    <a:pt x="29" y="537"/>
                    <a:pt x="41" y="504"/>
                    <a:pt x="60" y="469"/>
                  </a:cubicBezTo>
                  <a:cubicBezTo>
                    <a:pt x="99" y="397"/>
                    <a:pt x="166" y="312"/>
                    <a:pt x="253" y="230"/>
                  </a:cubicBezTo>
                  <a:cubicBezTo>
                    <a:pt x="339" y="149"/>
                    <a:pt x="428" y="86"/>
                    <a:pt x="502" y="52"/>
                  </a:cubicBezTo>
                  <a:cubicBezTo>
                    <a:pt x="539" y="35"/>
                    <a:pt x="572" y="25"/>
                    <a:pt x="598" y="22"/>
                  </a:cubicBezTo>
                  <a:cubicBezTo>
                    <a:pt x="624" y="20"/>
                    <a:pt x="642" y="25"/>
                    <a:pt x="653" y="3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POWER_USER_ID_ICONS_Atomic"/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auto">
            <a:xfrm>
              <a:off x="1054838" y="3674667"/>
              <a:ext cx="644367" cy="417354"/>
            </a:xfrm>
            <a:custGeom>
              <a:avLst/>
              <a:gdLst>
                <a:gd name="T0" fmla="*/ 787 w 799"/>
                <a:gd name="T1" fmla="*/ 475 h 517"/>
                <a:gd name="T2" fmla="*/ 785 w 799"/>
                <a:gd name="T3" fmla="*/ 401 h 517"/>
                <a:gd name="T4" fmla="*/ 724 w 799"/>
                <a:gd name="T5" fmla="*/ 312 h 517"/>
                <a:gd name="T6" fmla="*/ 474 w 799"/>
                <a:gd name="T7" fmla="*/ 124 h 517"/>
                <a:gd name="T8" fmla="*/ 183 w 799"/>
                <a:gd name="T9" fmla="*/ 10 h 517"/>
                <a:gd name="T10" fmla="*/ 76 w 799"/>
                <a:gd name="T11" fmla="*/ 5 h 517"/>
                <a:gd name="T12" fmla="*/ 12 w 799"/>
                <a:gd name="T13" fmla="*/ 42 h 517"/>
                <a:gd name="T14" fmla="*/ 13 w 799"/>
                <a:gd name="T15" fmla="*/ 117 h 517"/>
                <a:gd name="T16" fmla="*/ 74 w 799"/>
                <a:gd name="T17" fmla="*/ 205 h 517"/>
                <a:gd name="T18" fmla="*/ 324 w 799"/>
                <a:gd name="T19" fmla="*/ 393 h 517"/>
                <a:gd name="T20" fmla="*/ 616 w 799"/>
                <a:gd name="T21" fmla="*/ 507 h 517"/>
                <a:gd name="T22" fmla="*/ 723 w 799"/>
                <a:gd name="T23" fmla="*/ 512 h 517"/>
                <a:gd name="T24" fmla="*/ 787 w 799"/>
                <a:gd name="T25" fmla="*/ 475 h 517"/>
                <a:gd name="T26" fmla="*/ 770 w 799"/>
                <a:gd name="T27" fmla="*/ 465 h 517"/>
                <a:gd name="T28" fmla="*/ 720 w 799"/>
                <a:gd name="T29" fmla="*/ 492 h 517"/>
                <a:gd name="T30" fmla="*/ 620 w 799"/>
                <a:gd name="T31" fmla="*/ 487 h 517"/>
                <a:gd name="T32" fmla="*/ 334 w 799"/>
                <a:gd name="T33" fmla="*/ 376 h 517"/>
                <a:gd name="T34" fmla="*/ 89 w 799"/>
                <a:gd name="T35" fmla="*/ 191 h 517"/>
                <a:gd name="T36" fmla="*/ 32 w 799"/>
                <a:gd name="T37" fmla="*/ 109 h 517"/>
                <a:gd name="T38" fmla="*/ 29 w 799"/>
                <a:gd name="T39" fmla="*/ 52 h 517"/>
                <a:gd name="T40" fmla="*/ 79 w 799"/>
                <a:gd name="T41" fmla="*/ 25 h 517"/>
                <a:gd name="T42" fmla="*/ 179 w 799"/>
                <a:gd name="T43" fmla="*/ 30 h 517"/>
                <a:gd name="T44" fmla="*/ 465 w 799"/>
                <a:gd name="T45" fmla="*/ 142 h 517"/>
                <a:gd name="T46" fmla="*/ 710 w 799"/>
                <a:gd name="T47" fmla="*/ 326 h 517"/>
                <a:gd name="T48" fmla="*/ 767 w 799"/>
                <a:gd name="T49" fmla="*/ 408 h 517"/>
                <a:gd name="T50" fmla="*/ 770 w 799"/>
                <a:gd name="T51" fmla="*/ 465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99" h="517">
                  <a:moveTo>
                    <a:pt x="787" y="475"/>
                  </a:moveTo>
                  <a:cubicBezTo>
                    <a:pt x="799" y="454"/>
                    <a:pt x="796" y="428"/>
                    <a:pt x="785" y="401"/>
                  </a:cubicBezTo>
                  <a:cubicBezTo>
                    <a:pt x="774" y="373"/>
                    <a:pt x="753" y="343"/>
                    <a:pt x="724" y="312"/>
                  </a:cubicBezTo>
                  <a:cubicBezTo>
                    <a:pt x="667" y="250"/>
                    <a:pt x="580" y="183"/>
                    <a:pt x="474" y="124"/>
                  </a:cubicBezTo>
                  <a:cubicBezTo>
                    <a:pt x="369" y="65"/>
                    <a:pt x="265" y="26"/>
                    <a:pt x="183" y="10"/>
                  </a:cubicBezTo>
                  <a:cubicBezTo>
                    <a:pt x="141" y="2"/>
                    <a:pt x="105" y="0"/>
                    <a:pt x="76" y="5"/>
                  </a:cubicBezTo>
                  <a:cubicBezTo>
                    <a:pt x="46" y="10"/>
                    <a:pt x="23" y="21"/>
                    <a:pt x="12" y="42"/>
                  </a:cubicBezTo>
                  <a:cubicBezTo>
                    <a:pt x="0" y="63"/>
                    <a:pt x="2" y="89"/>
                    <a:pt x="13" y="117"/>
                  </a:cubicBezTo>
                  <a:cubicBezTo>
                    <a:pt x="25" y="144"/>
                    <a:pt x="46" y="174"/>
                    <a:pt x="74" y="205"/>
                  </a:cubicBezTo>
                  <a:cubicBezTo>
                    <a:pt x="131" y="267"/>
                    <a:pt x="219" y="334"/>
                    <a:pt x="324" y="393"/>
                  </a:cubicBezTo>
                  <a:cubicBezTo>
                    <a:pt x="430" y="452"/>
                    <a:pt x="533" y="491"/>
                    <a:pt x="616" y="507"/>
                  </a:cubicBezTo>
                  <a:cubicBezTo>
                    <a:pt x="657" y="515"/>
                    <a:pt x="693" y="517"/>
                    <a:pt x="723" y="512"/>
                  </a:cubicBezTo>
                  <a:cubicBezTo>
                    <a:pt x="752" y="508"/>
                    <a:pt x="776" y="496"/>
                    <a:pt x="787" y="475"/>
                  </a:cubicBezTo>
                  <a:close/>
                  <a:moveTo>
                    <a:pt x="770" y="465"/>
                  </a:moveTo>
                  <a:cubicBezTo>
                    <a:pt x="762" y="479"/>
                    <a:pt x="746" y="488"/>
                    <a:pt x="720" y="492"/>
                  </a:cubicBezTo>
                  <a:cubicBezTo>
                    <a:pt x="694" y="496"/>
                    <a:pt x="660" y="495"/>
                    <a:pt x="620" y="487"/>
                  </a:cubicBezTo>
                  <a:cubicBezTo>
                    <a:pt x="540" y="472"/>
                    <a:pt x="438" y="434"/>
                    <a:pt x="334" y="376"/>
                  </a:cubicBezTo>
                  <a:cubicBezTo>
                    <a:pt x="230" y="318"/>
                    <a:pt x="144" y="251"/>
                    <a:pt x="89" y="191"/>
                  </a:cubicBezTo>
                  <a:cubicBezTo>
                    <a:pt x="62" y="162"/>
                    <a:pt x="42" y="133"/>
                    <a:pt x="32" y="109"/>
                  </a:cubicBezTo>
                  <a:cubicBezTo>
                    <a:pt x="22" y="85"/>
                    <a:pt x="21" y="66"/>
                    <a:pt x="29" y="52"/>
                  </a:cubicBezTo>
                  <a:cubicBezTo>
                    <a:pt x="37" y="38"/>
                    <a:pt x="53" y="29"/>
                    <a:pt x="79" y="25"/>
                  </a:cubicBezTo>
                  <a:cubicBezTo>
                    <a:pt x="105" y="21"/>
                    <a:pt x="139" y="23"/>
                    <a:pt x="179" y="30"/>
                  </a:cubicBezTo>
                  <a:cubicBezTo>
                    <a:pt x="259" y="45"/>
                    <a:pt x="361" y="84"/>
                    <a:pt x="465" y="142"/>
                  </a:cubicBezTo>
                  <a:cubicBezTo>
                    <a:pt x="568" y="200"/>
                    <a:pt x="655" y="266"/>
                    <a:pt x="710" y="326"/>
                  </a:cubicBezTo>
                  <a:cubicBezTo>
                    <a:pt x="737" y="356"/>
                    <a:pt x="757" y="384"/>
                    <a:pt x="767" y="408"/>
                  </a:cubicBezTo>
                  <a:cubicBezTo>
                    <a:pt x="777" y="432"/>
                    <a:pt x="777" y="451"/>
                    <a:pt x="770" y="46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POWER_USER_ID_ICONS_Atomic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068808" y="3770710"/>
              <a:ext cx="64611" cy="663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POWER_USER_ID_ICONS_Atomic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559505" y="3775949"/>
              <a:ext cx="64611" cy="64611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POWER_USER_ID_ICONS_Atomic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1432028" y="4088528"/>
              <a:ext cx="66358" cy="64611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POWER_USER_ID_ICONS_Atomic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1311537" y="3826590"/>
              <a:ext cx="73343" cy="64611"/>
            </a:xfrm>
            <a:custGeom>
              <a:avLst/>
              <a:gdLst>
                <a:gd name="T0" fmla="*/ 48 w 91"/>
                <a:gd name="T1" fmla="*/ 0 h 81"/>
                <a:gd name="T2" fmla="*/ 0 w 91"/>
                <a:gd name="T3" fmla="*/ 50 h 81"/>
                <a:gd name="T4" fmla="*/ 11 w 91"/>
                <a:gd name="T5" fmla="*/ 81 h 81"/>
                <a:gd name="T6" fmla="*/ 59 w 91"/>
                <a:gd name="T7" fmla="*/ 59 h 81"/>
                <a:gd name="T8" fmla="*/ 60 w 91"/>
                <a:gd name="T9" fmla="*/ 59 h 81"/>
                <a:gd name="T10" fmla="*/ 91 w 91"/>
                <a:gd name="T11" fmla="*/ 28 h 81"/>
                <a:gd name="T12" fmla="*/ 48 w 91"/>
                <a:gd name="T13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1">
                  <a:moveTo>
                    <a:pt x="48" y="0"/>
                  </a:moveTo>
                  <a:cubicBezTo>
                    <a:pt x="22" y="0"/>
                    <a:pt x="0" y="23"/>
                    <a:pt x="0" y="50"/>
                  </a:cubicBezTo>
                  <a:cubicBezTo>
                    <a:pt x="0" y="62"/>
                    <a:pt x="4" y="73"/>
                    <a:pt x="11" y="81"/>
                  </a:cubicBezTo>
                  <a:cubicBezTo>
                    <a:pt x="23" y="68"/>
                    <a:pt x="40" y="59"/>
                    <a:pt x="59" y="59"/>
                  </a:cubicBezTo>
                  <a:cubicBezTo>
                    <a:pt x="59" y="59"/>
                    <a:pt x="60" y="59"/>
                    <a:pt x="60" y="59"/>
                  </a:cubicBezTo>
                  <a:cubicBezTo>
                    <a:pt x="67" y="45"/>
                    <a:pt x="78" y="34"/>
                    <a:pt x="91" y="28"/>
                  </a:cubicBezTo>
                  <a:cubicBezTo>
                    <a:pt x="83" y="12"/>
                    <a:pt x="67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POWER_USER_ID_ICONS_Atomic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1316776" y="3882470"/>
              <a:ext cx="69850" cy="80328"/>
            </a:xfrm>
            <a:custGeom>
              <a:avLst/>
              <a:gdLst>
                <a:gd name="T0" fmla="*/ 49 w 87"/>
                <a:gd name="T1" fmla="*/ 0 h 100"/>
                <a:gd name="T2" fmla="*/ 0 w 87"/>
                <a:gd name="T3" fmla="*/ 50 h 100"/>
                <a:gd name="T4" fmla="*/ 49 w 87"/>
                <a:gd name="T5" fmla="*/ 100 h 100"/>
                <a:gd name="T6" fmla="*/ 87 w 87"/>
                <a:gd name="T7" fmla="*/ 81 h 100"/>
                <a:gd name="T8" fmla="*/ 51 w 87"/>
                <a:gd name="T9" fmla="*/ 20 h 100"/>
                <a:gd name="T10" fmla="*/ 54 w 87"/>
                <a:gd name="T11" fmla="*/ 0 h 100"/>
                <a:gd name="T12" fmla="*/ 49 w 87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00">
                  <a:moveTo>
                    <a:pt x="49" y="0"/>
                  </a:moveTo>
                  <a:cubicBezTo>
                    <a:pt x="22" y="0"/>
                    <a:pt x="0" y="23"/>
                    <a:pt x="0" y="50"/>
                  </a:cubicBezTo>
                  <a:cubicBezTo>
                    <a:pt x="0" y="78"/>
                    <a:pt x="22" y="100"/>
                    <a:pt x="49" y="100"/>
                  </a:cubicBezTo>
                  <a:cubicBezTo>
                    <a:pt x="64" y="100"/>
                    <a:pt x="78" y="93"/>
                    <a:pt x="87" y="81"/>
                  </a:cubicBezTo>
                  <a:cubicBezTo>
                    <a:pt x="66" y="69"/>
                    <a:pt x="51" y="46"/>
                    <a:pt x="51" y="20"/>
                  </a:cubicBezTo>
                  <a:cubicBezTo>
                    <a:pt x="51" y="13"/>
                    <a:pt x="52" y="7"/>
                    <a:pt x="54" y="0"/>
                  </a:cubicBezTo>
                  <a:cubicBezTo>
                    <a:pt x="52" y="0"/>
                    <a:pt x="51" y="0"/>
                    <a:pt x="4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POWER_USER_ID_ICONS_Atomic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1363925" y="3833575"/>
              <a:ext cx="90805" cy="110014"/>
            </a:xfrm>
            <a:custGeom>
              <a:avLst/>
              <a:gdLst>
                <a:gd name="T0" fmla="*/ 112 w 112"/>
                <a:gd name="T1" fmla="*/ 77 h 135"/>
                <a:gd name="T2" fmla="*/ 56 w 112"/>
                <a:gd name="T3" fmla="*/ 135 h 135"/>
                <a:gd name="T4" fmla="*/ 0 w 112"/>
                <a:gd name="T5" fmla="*/ 77 h 135"/>
                <a:gd name="T6" fmla="*/ 112 w 112"/>
                <a:gd name="T7" fmla="*/ 77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2" h="135">
                  <a:moveTo>
                    <a:pt x="112" y="77"/>
                  </a:moveTo>
                  <a:cubicBezTo>
                    <a:pt x="112" y="109"/>
                    <a:pt x="87" y="135"/>
                    <a:pt x="56" y="135"/>
                  </a:cubicBezTo>
                  <a:cubicBezTo>
                    <a:pt x="25" y="135"/>
                    <a:pt x="0" y="109"/>
                    <a:pt x="0" y="77"/>
                  </a:cubicBezTo>
                  <a:cubicBezTo>
                    <a:pt x="0" y="0"/>
                    <a:pt x="112" y="0"/>
                    <a:pt x="112" y="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" name="POWER_USER_SHAPE_ICON_STYLE_5"/>
          <p:cNvSpPr/>
          <p:nvPr/>
        </p:nvSpPr>
        <p:spPr>
          <a:xfrm>
            <a:off x="904540" y="5125196"/>
            <a:ext cx="1005840" cy="1005840"/>
          </a:xfrm>
          <a:prstGeom prst="ellipse">
            <a:avLst/>
          </a:prstGeom>
          <a:noFill/>
          <a:ln w="28575" cap="flat" cmpd="sng" algn="ctr">
            <a:solidFill>
              <a:schemeClr val="accent4"/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086416" y="5292836"/>
            <a:ext cx="642086" cy="670560"/>
            <a:chOff x="1042325" y="5252196"/>
            <a:chExt cx="650875" cy="679739"/>
          </a:xfrm>
          <a:solidFill>
            <a:schemeClr val="accent4"/>
          </a:solidFill>
        </p:grpSpPr>
        <p:sp>
          <p:nvSpPr>
            <p:cNvPr id="34" name="POWER_USER_ID_ICONS_Crowdsourcing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071189" y="5732776"/>
              <a:ext cx="83705" cy="8514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POWER_USER_ID_ICONS_Crowdsourcing2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042325" y="5832355"/>
              <a:ext cx="141432" cy="99580"/>
            </a:xfrm>
            <a:custGeom>
              <a:avLst/>
              <a:gdLst>
                <a:gd name="T0" fmla="*/ 130 w 260"/>
                <a:gd name="T1" fmla="*/ 0 h 182"/>
                <a:gd name="T2" fmla="*/ 0 w 260"/>
                <a:gd name="T3" fmla="*/ 130 h 182"/>
                <a:gd name="T4" fmla="*/ 0 w 260"/>
                <a:gd name="T5" fmla="*/ 182 h 182"/>
                <a:gd name="T6" fmla="*/ 260 w 260"/>
                <a:gd name="T7" fmla="*/ 182 h 182"/>
                <a:gd name="T8" fmla="*/ 260 w 260"/>
                <a:gd name="T9" fmla="*/ 130 h 182"/>
                <a:gd name="T10" fmla="*/ 130 w 26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0" h="182">
                  <a:moveTo>
                    <a:pt x="130" y="0"/>
                  </a:moveTo>
                  <a:cubicBezTo>
                    <a:pt x="58" y="0"/>
                    <a:pt x="0" y="58"/>
                    <a:pt x="0" y="130"/>
                  </a:cubicBezTo>
                  <a:lnTo>
                    <a:pt x="0" y="182"/>
                  </a:lnTo>
                  <a:lnTo>
                    <a:pt x="260" y="182"/>
                  </a:lnTo>
                  <a:lnTo>
                    <a:pt x="260" y="130"/>
                  </a:lnTo>
                  <a:cubicBezTo>
                    <a:pt x="260" y="58"/>
                    <a:pt x="202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OWER_USER_ID_ICONS_Crowdsourcing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240041" y="5732776"/>
              <a:ext cx="85148" cy="8514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OWER_USER_ID_ICONS_Crowdsourcing2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212620" y="5832355"/>
              <a:ext cx="141432" cy="99580"/>
            </a:xfrm>
            <a:custGeom>
              <a:avLst/>
              <a:gdLst>
                <a:gd name="T0" fmla="*/ 130 w 260"/>
                <a:gd name="T1" fmla="*/ 0 h 182"/>
                <a:gd name="T2" fmla="*/ 0 w 260"/>
                <a:gd name="T3" fmla="*/ 130 h 182"/>
                <a:gd name="T4" fmla="*/ 0 w 260"/>
                <a:gd name="T5" fmla="*/ 182 h 182"/>
                <a:gd name="T6" fmla="*/ 260 w 260"/>
                <a:gd name="T7" fmla="*/ 182 h 182"/>
                <a:gd name="T8" fmla="*/ 260 w 260"/>
                <a:gd name="T9" fmla="*/ 130 h 182"/>
                <a:gd name="T10" fmla="*/ 130 w 26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0" h="182">
                  <a:moveTo>
                    <a:pt x="130" y="0"/>
                  </a:moveTo>
                  <a:cubicBezTo>
                    <a:pt x="58" y="0"/>
                    <a:pt x="0" y="58"/>
                    <a:pt x="0" y="130"/>
                  </a:cubicBezTo>
                  <a:lnTo>
                    <a:pt x="0" y="182"/>
                  </a:lnTo>
                  <a:lnTo>
                    <a:pt x="260" y="182"/>
                  </a:lnTo>
                  <a:lnTo>
                    <a:pt x="260" y="130"/>
                  </a:lnTo>
                  <a:cubicBezTo>
                    <a:pt x="260" y="58"/>
                    <a:pt x="202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OWER_USER_ID_ICONS_Crowdsourcing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410336" y="5732776"/>
              <a:ext cx="83705" cy="8514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OWER_USER_ID_ICONS_Crowdsourcing2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381473" y="5832355"/>
              <a:ext cx="141432" cy="99580"/>
            </a:xfrm>
            <a:custGeom>
              <a:avLst/>
              <a:gdLst>
                <a:gd name="T0" fmla="*/ 130 w 260"/>
                <a:gd name="T1" fmla="*/ 0 h 182"/>
                <a:gd name="T2" fmla="*/ 0 w 260"/>
                <a:gd name="T3" fmla="*/ 130 h 182"/>
                <a:gd name="T4" fmla="*/ 0 w 260"/>
                <a:gd name="T5" fmla="*/ 182 h 182"/>
                <a:gd name="T6" fmla="*/ 260 w 260"/>
                <a:gd name="T7" fmla="*/ 182 h 182"/>
                <a:gd name="T8" fmla="*/ 260 w 260"/>
                <a:gd name="T9" fmla="*/ 130 h 182"/>
                <a:gd name="T10" fmla="*/ 130 w 26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0" h="182">
                  <a:moveTo>
                    <a:pt x="130" y="0"/>
                  </a:moveTo>
                  <a:cubicBezTo>
                    <a:pt x="58" y="0"/>
                    <a:pt x="0" y="58"/>
                    <a:pt x="0" y="130"/>
                  </a:cubicBezTo>
                  <a:lnTo>
                    <a:pt x="0" y="182"/>
                  </a:lnTo>
                  <a:lnTo>
                    <a:pt x="260" y="182"/>
                  </a:lnTo>
                  <a:lnTo>
                    <a:pt x="260" y="130"/>
                  </a:lnTo>
                  <a:cubicBezTo>
                    <a:pt x="260" y="58"/>
                    <a:pt x="202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POWER_USER_ID_ICONS_Crowdsourcing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579189" y="5732776"/>
              <a:ext cx="85148" cy="8514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POWER_USER_ID_ICONS_Crowdsourcing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551768" y="5832355"/>
              <a:ext cx="141432" cy="99580"/>
            </a:xfrm>
            <a:custGeom>
              <a:avLst/>
              <a:gdLst>
                <a:gd name="T0" fmla="*/ 130 w 260"/>
                <a:gd name="T1" fmla="*/ 0 h 182"/>
                <a:gd name="T2" fmla="*/ 0 w 260"/>
                <a:gd name="T3" fmla="*/ 130 h 182"/>
                <a:gd name="T4" fmla="*/ 0 w 260"/>
                <a:gd name="T5" fmla="*/ 182 h 182"/>
                <a:gd name="T6" fmla="*/ 260 w 260"/>
                <a:gd name="T7" fmla="*/ 182 h 182"/>
                <a:gd name="T8" fmla="*/ 260 w 260"/>
                <a:gd name="T9" fmla="*/ 130 h 182"/>
                <a:gd name="T10" fmla="*/ 130 w 26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0" h="182">
                  <a:moveTo>
                    <a:pt x="130" y="0"/>
                  </a:moveTo>
                  <a:cubicBezTo>
                    <a:pt x="58" y="0"/>
                    <a:pt x="0" y="58"/>
                    <a:pt x="0" y="130"/>
                  </a:cubicBezTo>
                  <a:lnTo>
                    <a:pt x="0" y="182"/>
                  </a:lnTo>
                  <a:lnTo>
                    <a:pt x="260" y="182"/>
                  </a:lnTo>
                  <a:lnTo>
                    <a:pt x="260" y="130"/>
                  </a:lnTo>
                  <a:cubicBezTo>
                    <a:pt x="260" y="58"/>
                    <a:pt x="202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POWER_USER_ID_ICONS_Crowdsourcing2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325189" y="5605776"/>
              <a:ext cx="85148" cy="28864"/>
            </a:xfrm>
            <a:custGeom>
              <a:avLst/>
              <a:gdLst>
                <a:gd name="T0" fmla="*/ 130 w 156"/>
                <a:gd name="T1" fmla="*/ 52 h 52"/>
                <a:gd name="T2" fmla="*/ 26 w 156"/>
                <a:gd name="T3" fmla="*/ 52 h 52"/>
                <a:gd name="T4" fmla="*/ 0 w 156"/>
                <a:gd name="T5" fmla="*/ 26 h 52"/>
                <a:gd name="T6" fmla="*/ 26 w 156"/>
                <a:gd name="T7" fmla="*/ 0 h 52"/>
                <a:gd name="T8" fmla="*/ 130 w 156"/>
                <a:gd name="T9" fmla="*/ 0 h 52"/>
                <a:gd name="T10" fmla="*/ 156 w 156"/>
                <a:gd name="T11" fmla="*/ 26 h 52"/>
                <a:gd name="T12" fmla="*/ 130 w 15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52">
                  <a:moveTo>
                    <a:pt x="130" y="52"/>
                  </a:moveTo>
                  <a:lnTo>
                    <a:pt x="26" y="52"/>
                  </a:lnTo>
                  <a:cubicBezTo>
                    <a:pt x="11" y="52"/>
                    <a:pt x="0" y="40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lnTo>
                    <a:pt x="130" y="0"/>
                  </a:lnTo>
                  <a:cubicBezTo>
                    <a:pt x="144" y="0"/>
                    <a:pt x="156" y="12"/>
                    <a:pt x="156" y="26"/>
                  </a:cubicBezTo>
                  <a:cubicBezTo>
                    <a:pt x="156" y="40"/>
                    <a:pt x="144" y="52"/>
                    <a:pt x="130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POWER_USER_ID_ICONS_Crowdsourcing2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354052" y="5252196"/>
              <a:ext cx="27420" cy="85148"/>
            </a:xfrm>
            <a:custGeom>
              <a:avLst/>
              <a:gdLst>
                <a:gd name="T0" fmla="*/ 26 w 52"/>
                <a:gd name="T1" fmla="*/ 156 h 156"/>
                <a:gd name="T2" fmla="*/ 0 w 52"/>
                <a:gd name="T3" fmla="*/ 130 h 156"/>
                <a:gd name="T4" fmla="*/ 0 w 52"/>
                <a:gd name="T5" fmla="*/ 26 h 156"/>
                <a:gd name="T6" fmla="*/ 26 w 52"/>
                <a:gd name="T7" fmla="*/ 0 h 156"/>
                <a:gd name="T8" fmla="*/ 52 w 52"/>
                <a:gd name="T9" fmla="*/ 26 h 156"/>
                <a:gd name="T10" fmla="*/ 52 w 52"/>
                <a:gd name="T11" fmla="*/ 130 h 156"/>
                <a:gd name="T12" fmla="*/ 26 w 5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56">
                  <a:moveTo>
                    <a:pt x="26" y="156"/>
                  </a:moveTo>
                  <a:cubicBezTo>
                    <a:pt x="12" y="156"/>
                    <a:pt x="0" y="145"/>
                    <a:pt x="0" y="130"/>
                  </a:cubicBezTo>
                  <a:lnTo>
                    <a:pt x="0" y="26"/>
                  </a:ln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lnTo>
                    <a:pt x="52" y="130"/>
                  </a:lnTo>
                  <a:cubicBezTo>
                    <a:pt x="52" y="145"/>
                    <a:pt x="40" y="156"/>
                    <a:pt x="26" y="15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POWER_USER_ID_ICONS_Crowdsourcing2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169325" y="5436923"/>
              <a:ext cx="85148" cy="27420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POWER_USER_ID_ICONS_Crowdsourcing2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219836" y="5302707"/>
              <a:ext cx="70716" cy="69273"/>
            </a:xfrm>
            <a:custGeom>
              <a:avLst/>
              <a:gdLst>
                <a:gd name="T0" fmla="*/ 103 w 131"/>
                <a:gd name="T1" fmla="*/ 128 h 128"/>
                <a:gd name="T2" fmla="*/ 84 w 131"/>
                <a:gd name="T3" fmla="*/ 121 h 128"/>
                <a:gd name="T4" fmla="*/ 11 w 131"/>
                <a:gd name="T5" fmla="*/ 47 h 128"/>
                <a:gd name="T6" fmla="*/ 11 w 131"/>
                <a:gd name="T7" fmla="*/ 10 h 128"/>
                <a:gd name="T8" fmla="*/ 47 w 131"/>
                <a:gd name="T9" fmla="*/ 10 h 128"/>
                <a:gd name="T10" fmla="*/ 121 w 131"/>
                <a:gd name="T11" fmla="*/ 84 h 128"/>
                <a:gd name="T12" fmla="*/ 121 w 131"/>
                <a:gd name="T13" fmla="*/ 121 h 128"/>
                <a:gd name="T14" fmla="*/ 103 w 131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" h="128">
                  <a:moveTo>
                    <a:pt x="103" y="128"/>
                  </a:moveTo>
                  <a:cubicBezTo>
                    <a:pt x="96" y="128"/>
                    <a:pt x="89" y="126"/>
                    <a:pt x="84" y="121"/>
                  </a:cubicBezTo>
                  <a:lnTo>
                    <a:pt x="11" y="47"/>
                  </a:lnTo>
                  <a:cubicBezTo>
                    <a:pt x="0" y="37"/>
                    <a:pt x="0" y="20"/>
                    <a:pt x="11" y="10"/>
                  </a:cubicBezTo>
                  <a:cubicBezTo>
                    <a:pt x="21" y="0"/>
                    <a:pt x="37" y="0"/>
                    <a:pt x="47" y="10"/>
                  </a:cubicBezTo>
                  <a:lnTo>
                    <a:pt x="121" y="84"/>
                  </a:lnTo>
                  <a:cubicBezTo>
                    <a:pt x="131" y="94"/>
                    <a:pt x="131" y="111"/>
                    <a:pt x="121" y="121"/>
                  </a:cubicBezTo>
                  <a:cubicBezTo>
                    <a:pt x="116" y="126"/>
                    <a:pt x="109" y="128"/>
                    <a:pt x="103" y="1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POWER_USER_ID_ICONS_Crowdsourcing2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443530" y="5302707"/>
              <a:ext cx="70716" cy="69273"/>
            </a:xfrm>
            <a:custGeom>
              <a:avLst/>
              <a:gdLst>
                <a:gd name="T0" fmla="*/ 28 w 130"/>
                <a:gd name="T1" fmla="*/ 128 h 128"/>
                <a:gd name="T2" fmla="*/ 10 w 130"/>
                <a:gd name="T3" fmla="*/ 121 h 128"/>
                <a:gd name="T4" fmla="*/ 10 w 130"/>
                <a:gd name="T5" fmla="*/ 84 h 128"/>
                <a:gd name="T6" fmla="*/ 83 w 130"/>
                <a:gd name="T7" fmla="*/ 10 h 128"/>
                <a:gd name="T8" fmla="*/ 120 w 130"/>
                <a:gd name="T9" fmla="*/ 10 h 128"/>
                <a:gd name="T10" fmla="*/ 120 w 130"/>
                <a:gd name="T11" fmla="*/ 47 h 128"/>
                <a:gd name="T12" fmla="*/ 47 w 130"/>
                <a:gd name="T13" fmla="*/ 121 h 128"/>
                <a:gd name="T14" fmla="*/ 28 w 130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128">
                  <a:moveTo>
                    <a:pt x="28" y="128"/>
                  </a:moveTo>
                  <a:cubicBezTo>
                    <a:pt x="22" y="128"/>
                    <a:pt x="15" y="126"/>
                    <a:pt x="10" y="121"/>
                  </a:cubicBezTo>
                  <a:cubicBezTo>
                    <a:pt x="0" y="111"/>
                    <a:pt x="0" y="94"/>
                    <a:pt x="10" y="84"/>
                  </a:cubicBezTo>
                  <a:lnTo>
                    <a:pt x="83" y="10"/>
                  </a:lnTo>
                  <a:cubicBezTo>
                    <a:pt x="94" y="0"/>
                    <a:pt x="110" y="0"/>
                    <a:pt x="120" y="10"/>
                  </a:cubicBezTo>
                  <a:cubicBezTo>
                    <a:pt x="130" y="20"/>
                    <a:pt x="130" y="37"/>
                    <a:pt x="120" y="47"/>
                  </a:cubicBezTo>
                  <a:lnTo>
                    <a:pt x="47" y="121"/>
                  </a:lnTo>
                  <a:cubicBezTo>
                    <a:pt x="42" y="126"/>
                    <a:pt x="35" y="128"/>
                    <a:pt x="28" y="1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POWER_USER_ID_ICONS_Crowdsourcing2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1481052" y="5436923"/>
              <a:ext cx="85148" cy="27420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POWER_USER_ID_ICONS_Crowdsourcing2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1325189" y="5647628"/>
              <a:ext cx="85148" cy="43295"/>
            </a:xfrm>
            <a:custGeom>
              <a:avLst/>
              <a:gdLst>
                <a:gd name="T0" fmla="*/ 130 w 156"/>
                <a:gd name="T1" fmla="*/ 0 h 78"/>
                <a:gd name="T2" fmla="*/ 26 w 156"/>
                <a:gd name="T3" fmla="*/ 0 h 78"/>
                <a:gd name="T4" fmla="*/ 0 w 156"/>
                <a:gd name="T5" fmla="*/ 26 h 78"/>
                <a:gd name="T6" fmla="*/ 26 w 156"/>
                <a:gd name="T7" fmla="*/ 52 h 78"/>
                <a:gd name="T8" fmla="*/ 39 w 156"/>
                <a:gd name="T9" fmla="*/ 52 h 78"/>
                <a:gd name="T10" fmla="*/ 65 w 156"/>
                <a:gd name="T11" fmla="*/ 78 h 78"/>
                <a:gd name="T12" fmla="*/ 91 w 156"/>
                <a:gd name="T13" fmla="*/ 78 h 78"/>
                <a:gd name="T14" fmla="*/ 117 w 156"/>
                <a:gd name="T15" fmla="*/ 52 h 78"/>
                <a:gd name="T16" fmla="*/ 130 w 156"/>
                <a:gd name="T17" fmla="*/ 52 h 78"/>
                <a:gd name="T18" fmla="*/ 156 w 156"/>
                <a:gd name="T19" fmla="*/ 26 h 78"/>
                <a:gd name="T20" fmla="*/ 130 w 156"/>
                <a:gd name="T2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78">
                  <a:moveTo>
                    <a:pt x="130" y="0"/>
                  </a:moveTo>
                  <a:lnTo>
                    <a:pt x="26" y="0"/>
                  </a:lnTo>
                  <a:cubicBezTo>
                    <a:pt x="11" y="0"/>
                    <a:pt x="0" y="12"/>
                    <a:pt x="0" y="26"/>
                  </a:cubicBezTo>
                  <a:cubicBezTo>
                    <a:pt x="0" y="41"/>
                    <a:pt x="11" y="52"/>
                    <a:pt x="26" y="52"/>
                  </a:cubicBezTo>
                  <a:lnTo>
                    <a:pt x="39" y="52"/>
                  </a:lnTo>
                  <a:cubicBezTo>
                    <a:pt x="39" y="67"/>
                    <a:pt x="51" y="78"/>
                    <a:pt x="65" y="78"/>
                  </a:cubicBezTo>
                  <a:lnTo>
                    <a:pt x="91" y="78"/>
                  </a:lnTo>
                  <a:cubicBezTo>
                    <a:pt x="105" y="78"/>
                    <a:pt x="117" y="67"/>
                    <a:pt x="117" y="52"/>
                  </a:cubicBezTo>
                  <a:lnTo>
                    <a:pt x="130" y="52"/>
                  </a:lnTo>
                  <a:cubicBezTo>
                    <a:pt x="144" y="52"/>
                    <a:pt x="156" y="41"/>
                    <a:pt x="156" y="26"/>
                  </a:cubicBezTo>
                  <a:cubicBezTo>
                    <a:pt x="156" y="12"/>
                    <a:pt x="144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POWER_USER_ID_ICONS_Crowdsourcing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1268905" y="5351776"/>
              <a:ext cx="197716" cy="239568"/>
            </a:xfrm>
            <a:custGeom>
              <a:avLst/>
              <a:gdLst>
                <a:gd name="T0" fmla="*/ 316 w 364"/>
                <a:gd name="T1" fmla="*/ 306 h 443"/>
                <a:gd name="T2" fmla="*/ 364 w 364"/>
                <a:gd name="T3" fmla="*/ 183 h 443"/>
                <a:gd name="T4" fmla="*/ 182 w 364"/>
                <a:gd name="T5" fmla="*/ 0 h 443"/>
                <a:gd name="T6" fmla="*/ 0 w 364"/>
                <a:gd name="T7" fmla="*/ 183 h 443"/>
                <a:gd name="T8" fmla="*/ 45 w 364"/>
                <a:gd name="T9" fmla="*/ 302 h 443"/>
                <a:gd name="T10" fmla="*/ 104 w 364"/>
                <a:gd name="T11" fmla="*/ 417 h 443"/>
                <a:gd name="T12" fmla="*/ 130 w 364"/>
                <a:gd name="T13" fmla="*/ 443 h 443"/>
                <a:gd name="T14" fmla="*/ 234 w 364"/>
                <a:gd name="T15" fmla="*/ 443 h 443"/>
                <a:gd name="T16" fmla="*/ 260 w 364"/>
                <a:gd name="T17" fmla="*/ 417 h 443"/>
                <a:gd name="T18" fmla="*/ 260 w 364"/>
                <a:gd name="T19" fmla="*/ 416 h 443"/>
                <a:gd name="T20" fmla="*/ 316 w 364"/>
                <a:gd name="T21" fmla="*/ 30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443">
                  <a:moveTo>
                    <a:pt x="316" y="306"/>
                  </a:moveTo>
                  <a:cubicBezTo>
                    <a:pt x="346" y="273"/>
                    <a:pt x="364" y="230"/>
                    <a:pt x="364" y="183"/>
                  </a:cubicBezTo>
                  <a:cubicBezTo>
                    <a:pt x="364" y="82"/>
                    <a:pt x="283" y="0"/>
                    <a:pt x="182" y="0"/>
                  </a:cubicBezTo>
                  <a:cubicBezTo>
                    <a:pt x="81" y="0"/>
                    <a:pt x="0" y="82"/>
                    <a:pt x="0" y="183"/>
                  </a:cubicBezTo>
                  <a:cubicBezTo>
                    <a:pt x="0" y="229"/>
                    <a:pt x="17" y="270"/>
                    <a:pt x="45" y="302"/>
                  </a:cubicBezTo>
                  <a:cubicBezTo>
                    <a:pt x="57" y="316"/>
                    <a:pt x="104" y="372"/>
                    <a:pt x="104" y="417"/>
                  </a:cubicBezTo>
                  <a:cubicBezTo>
                    <a:pt x="104" y="431"/>
                    <a:pt x="115" y="443"/>
                    <a:pt x="130" y="443"/>
                  </a:cubicBezTo>
                  <a:lnTo>
                    <a:pt x="234" y="443"/>
                  </a:lnTo>
                  <a:cubicBezTo>
                    <a:pt x="248" y="443"/>
                    <a:pt x="260" y="431"/>
                    <a:pt x="260" y="417"/>
                  </a:cubicBezTo>
                  <a:lnTo>
                    <a:pt x="260" y="416"/>
                  </a:lnTo>
                  <a:cubicBezTo>
                    <a:pt x="261" y="373"/>
                    <a:pt x="301" y="323"/>
                    <a:pt x="316" y="30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58233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20" grpId="0"/>
      <p:bldP spid="21" grpId="0"/>
      <p:bldP spid="7" grpId="0" animBg="1"/>
      <p:bldP spid="6" grpId="0" animBg="1"/>
      <p:bldP spid="1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FBD50805-22CB-4456-9A58-099D5D7559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711" y="652188"/>
            <a:ext cx="8047223" cy="402361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1295D36-73D9-4257-BC4E-AB7867DC81BB}"/>
              </a:ext>
            </a:extLst>
          </p:cNvPr>
          <p:cNvSpPr txBox="1"/>
          <p:nvPr/>
        </p:nvSpPr>
        <p:spPr>
          <a:xfrm>
            <a:off x="6096000" y="5444197"/>
            <a:ext cx="39764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Model Process</a:t>
            </a:r>
          </a:p>
        </p:txBody>
      </p:sp>
    </p:spTree>
    <p:extLst>
      <p:ext uri="{BB962C8B-B14F-4D97-AF65-F5344CB8AC3E}">
        <p14:creationId xmlns:p14="http://schemas.microsoft.com/office/powerpoint/2010/main" val="32877089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FDA1A57-65DB-4A0B-9153-D12037C78E8F}"/>
              </a:ext>
            </a:extLst>
          </p:cNvPr>
          <p:cNvSpPr txBox="1"/>
          <p:nvPr/>
        </p:nvSpPr>
        <p:spPr>
          <a:xfrm>
            <a:off x="648930" y="629266"/>
            <a:ext cx="9252154" cy="122398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39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nnotation Process – Data collec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D75092B-8DDE-47B3-A60E-63C7470E843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552" b="-2"/>
          <a:stretch/>
        </p:blipFill>
        <p:spPr>
          <a:xfrm>
            <a:off x="644373" y="1777049"/>
            <a:ext cx="5451627" cy="419618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C972618-7AA6-45D2-8B35-7CCD903352BF}"/>
              </a:ext>
            </a:extLst>
          </p:cNvPr>
          <p:cNvSpPr txBox="1"/>
          <p:nvPr/>
        </p:nvSpPr>
        <p:spPr>
          <a:xfrm>
            <a:off x="6750751" y="2052215"/>
            <a:ext cx="5164583" cy="41961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85750"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 dirty="0">
                <a:latin typeface="+mj-lt"/>
                <a:ea typeface="+mj-ea"/>
                <a:cs typeface="+mj-cs"/>
              </a:rPr>
              <a:t>Gather almost 150 documents related to SDG13 via a scientific site</a:t>
            </a:r>
          </a:p>
          <a:p>
            <a:pPr marL="285750" indent="-285750"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 dirty="0">
                <a:latin typeface="+mj-lt"/>
                <a:ea typeface="+mj-ea"/>
                <a:cs typeface="+mj-cs"/>
              </a:rPr>
              <a:t>Annotate main components:</a:t>
            </a: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</a:pPr>
            <a:r>
              <a:rPr lang="en-US" dirty="0">
                <a:latin typeface="+mj-lt"/>
                <a:ea typeface="+mj-ea"/>
                <a:cs typeface="+mj-cs"/>
              </a:rPr>
              <a:t>       -Topic Annotation</a:t>
            </a: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</a:pPr>
            <a:r>
              <a:rPr lang="en-US" dirty="0">
                <a:latin typeface="+mj-lt"/>
                <a:ea typeface="+mj-ea"/>
                <a:cs typeface="+mj-cs"/>
              </a:rPr>
              <a:t>	-Research theme Annotation</a:t>
            </a: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</a:pPr>
            <a:r>
              <a:rPr lang="en-US" dirty="0">
                <a:latin typeface="+mj-lt"/>
                <a:ea typeface="+mj-ea"/>
                <a:cs typeface="+mj-cs"/>
              </a:rPr>
              <a:t>	-Argument Annotation(Evidence-Claim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C49268-1C41-4398-8B46-99FC6F9D8B83}"/>
              </a:ext>
            </a:extLst>
          </p:cNvPr>
          <p:cNvSpPr txBox="1"/>
          <p:nvPr/>
        </p:nvSpPr>
        <p:spPr>
          <a:xfrm>
            <a:off x="6749487" y="5018782"/>
            <a:ext cx="539023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Dataset  creation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Contains texts of six different SDGs</a:t>
            </a:r>
          </a:p>
          <a:p>
            <a:pPr>
              <a:spcAft>
                <a:spcPts val="60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06065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7" cstate="print">
            <a:lum bright="70000" contrast="-70000"/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title" idx="4294967295"/>
          </p:nvPr>
        </p:nvSpPr>
        <p:spPr>
          <a:xfrm>
            <a:off x="286989" y="325794"/>
            <a:ext cx="9404350" cy="565150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3900" dirty="0">
                <a:solidFill>
                  <a:schemeClr val="bg1"/>
                </a:solidFill>
                <a:latin typeface="Century Gothic" panose="020B0502020202020204"/>
                <a:ea typeface="+mn-ea"/>
                <a:cs typeface="+mn-cs"/>
              </a:rPr>
              <a:t>Data Preprocessing </a:t>
            </a:r>
            <a:endParaRPr lang="en-US" sz="4400" kern="0" dirty="0">
              <a:solidFill>
                <a:schemeClr val="bg2">
                  <a:lumMod val="50000"/>
                </a:schemeClr>
              </a:solidFill>
              <a:latin typeface="Calibri"/>
            </a:endParaRPr>
          </a:p>
        </p:txBody>
      </p:sp>
      <p:cxnSp>
        <p:nvCxnSpPr>
          <p:cNvPr id="14" name="Curved Connector 13"/>
          <p:cNvCxnSpPr/>
          <p:nvPr/>
        </p:nvCxnSpPr>
        <p:spPr>
          <a:xfrm rot="5400000" flipH="1" flipV="1">
            <a:off x="2605497" y="2310329"/>
            <a:ext cx="882019" cy="1193800"/>
          </a:xfrm>
          <a:prstGeom prst="curvedConnector2">
            <a:avLst/>
          </a:prstGeom>
          <a:ln w="127000">
            <a:gradFill>
              <a:gsLst>
                <a:gs pos="0">
                  <a:schemeClr val="tx2">
                    <a:lumMod val="75000"/>
                  </a:schemeClr>
                </a:gs>
                <a:gs pos="50000">
                  <a:schemeClr val="tx2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headEnd type="none" w="med" len="med"/>
            <a:tailEnd type="triangl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urved Connector 15"/>
          <p:cNvCxnSpPr>
            <a:stCxn id="11" idx="6"/>
            <a:endCxn id="10" idx="2"/>
          </p:cNvCxnSpPr>
          <p:nvPr/>
        </p:nvCxnSpPr>
        <p:spPr>
          <a:xfrm>
            <a:off x="4584822" y="2489065"/>
            <a:ext cx="3005837" cy="2484496"/>
          </a:xfrm>
          <a:prstGeom prst="curvedConnector3">
            <a:avLst>
              <a:gd name="adj1" fmla="val 50000"/>
            </a:avLst>
          </a:prstGeom>
          <a:ln w="127000">
            <a:gradFill>
              <a:gsLst>
                <a:gs pos="0">
                  <a:schemeClr val="accent1">
                    <a:lumMod val="75000"/>
                  </a:schemeClr>
                </a:gs>
                <a:gs pos="5000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0"/>
            </a:gradFill>
            <a:headEnd type="none" w="med" len="med"/>
            <a:tailEnd type="triangl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urved Connector 31"/>
          <p:cNvCxnSpPr>
            <a:stCxn id="9" idx="2"/>
            <a:endCxn id="6" idx="4"/>
          </p:cNvCxnSpPr>
          <p:nvPr/>
        </p:nvCxnSpPr>
        <p:spPr>
          <a:xfrm rot="10800000">
            <a:off x="2420570" y="4018970"/>
            <a:ext cx="1249852" cy="964278"/>
          </a:xfrm>
          <a:prstGeom prst="curvedConnector2">
            <a:avLst/>
          </a:prstGeom>
          <a:ln w="127000">
            <a:gradFill>
              <a:gsLst>
                <a:gs pos="0">
                  <a:schemeClr val="accent5">
                    <a:lumMod val="75000"/>
                  </a:schemeClr>
                </a:gs>
                <a:gs pos="50000">
                  <a:schemeClr val="accent5"/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5400000" scaled="0"/>
            </a:gradFill>
            <a:headEnd type="none" w="med" len="med"/>
            <a:tailEnd type="triangl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urved Connector 19"/>
          <p:cNvCxnSpPr/>
          <p:nvPr/>
        </p:nvCxnSpPr>
        <p:spPr>
          <a:xfrm rot="10800000" flipV="1">
            <a:off x="4510471" y="2521533"/>
            <a:ext cx="2989318" cy="2463802"/>
          </a:xfrm>
          <a:prstGeom prst="curvedConnector3">
            <a:avLst>
              <a:gd name="adj1" fmla="val 50000"/>
            </a:avLst>
          </a:prstGeom>
          <a:ln w="127000">
            <a:gradFill>
              <a:gsLst>
                <a:gs pos="0">
                  <a:schemeClr val="accent4">
                    <a:lumMod val="75000"/>
                  </a:schemeClr>
                </a:gs>
                <a:gs pos="50000">
                  <a:schemeClr val="accent4"/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5400000" scaled="0"/>
            </a:gradFill>
            <a:headEnd type="none" w="med" len="med"/>
            <a:tailEnd type="triangl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/>
          <p:cNvSpPr>
            <a:spLocks noChangeAspect="1"/>
          </p:cNvSpPr>
          <p:nvPr/>
        </p:nvSpPr>
        <p:spPr>
          <a:xfrm>
            <a:off x="1963370" y="3319209"/>
            <a:ext cx="914400" cy="699761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accent5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Oval 8"/>
          <p:cNvSpPr>
            <a:spLocks noChangeAspect="1"/>
          </p:cNvSpPr>
          <p:nvPr/>
        </p:nvSpPr>
        <p:spPr>
          <a:xfrm>
            <a:off x="3670422" y="4633367"/>
            <a:ext cx="914400" cy="699761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accent4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val 9"/>
          <p:cNvSpPr>
            <a:spLocks noChangeAspect="1"/>
          </p:cNvSpPr>
          <p:nvPr/>
        </p:nvSpPr>
        <p:spPr>
          <a:xfrm>
            <a:off x="7590659" y="4623680"/>
            <a:ext cx="914400" cy="699761"/>
          </a:xfrm>
          <a:prstGeom prst="ellipse">
            <a:avLst/>
          </a:prstGeom>
          <a:solidFill>
            <a:schemeClr val="tx1">
              <a:lumMod val="95000"/>
            </a:schemeClr>
          </a:solidFill>
          <a:ln w="38100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Oval 10"/>
          <p:cNvSpPr>
            <a:spLocks noChangeAspect="1"/>
          </p:cNvSpPr>
          <p:nvPr/>
        </p:nvSpPr>
        <p:spPr>
          <a:xfrm>
            <a:off x="3670422" y="2139184"/>
            <a:ext cx="914400" cy="69976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 w="38100">
            <a:solidFill>
              <a:schemeClr val="tx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val 11"/>
          <p:cNvSpPr>
            <a:spLocks noChangeAspect="1"/>
          </p:cNvSpPr>
          <p:nvPr/>
        </p:nvSpPr>
        <p:spPr>
          <a:xfrm>
            <a:off x="7590659" y="2159879"/>
            <a:ext cx="914400" cy="699761"/>
          </a:xfrm>
          <a:prstGeom prst="ellipse">
            <a:avLst/>
          </a:prstGeom>
          <a:solidFill>
            <a:schemeClr val="tx1">
              <a:lumMod val="95000"/>
            </a:schemeClr>
          </a:solidFill>
          <a:ln w="38100"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5" name="104 - TextBox"/>
          <p:cNvSpPr txBox="1"/>
          <p:nvPr/>
        </p:nvSpPr>
        <p:spPr>
          <a:xfrm>
            <a:off x="2975429" y="1494971"/>
            <a:ext cx="32947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l-GR" dirty="0"/>
          </a:p>
        </p:txBody>
      </p:sp>
      <p:sp>
        <p:nvSpPr>
          <p:cNvPr id="108" name="107 - TextBox"/>
          <p:cNvSpPr txBox="1"/>
          <p:nvPr/>
        </p:nvSpPr>
        <p:spPr>
          <a:xfrm>
            <a:off x="2010229" y="1400628"/>
            <a:ext cx="32947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Remove all words that are part of stop-words list</a:t>
            </a:r>
          </a:p>
        </p:txBody>
      </p:sp>
      <p:sp>
        <p:nvSpPr>
          <p:cNvPr id="109" name="108 - TextBox"/>
          <p:cNvSpPr txBox="1"/>
          <p:nvPr/>
        </p:nvSpPr>
        <p:spPr>
          <a:xfrm>
            <a:off x="402430" y="2508971"/>
            <a:ext cx="19158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Convert all the word letters to lowercase</a:t>
            </a:r>
          </a:p>
        </p:txBody>
      </p:sp>
      <p:sp>
        <p:nvSpPr>
          <p:cNvPr id="120" name="119 - TextBox"/>
          <p:cNvSpPr txBox="1"/>
          <p:nvPr/>
        </p:nvSpPr>
        <p:spPr>
          <a:xfrm>
            <a:off x="286989" y="4188692"/>
            <a:ext cx="24238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Remove all the special characters</a:t>
            </a:r>
            <a:endParaRPr lang="el-GR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21" name="120 - TextBox"/>
          <p:cNvSpPr txBox="1"/>
          <p:nvPr/>
        </p:nvSpPr>
        <p:spPr>
          <a:xfrm>
            <a:off x="4933950" y="4961220"/>
            <a:ext cx="236582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Remove frequently-used words that are not stop-words</a:t>
            </a:r>
          </a:p>
          <a:p>
            <a:endParaRPr lang="el-GR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22" name="121 - Ορθογώνιο"/>
          <p:cNvSpPr/>
          <p:nvPr/>
        </p:nvSpPr>
        <p:spPr>
          <a:xfrm>
            <a:off x="7266465" y="5666993"/>
            <a:ext cx="174919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Tokenization</a:t>
            </a:r>
          </a:p>
        </p:txBody>
      </p:sp>
      <p:sp>
        <p:nvSpPr>
          <p:cNvPr id="126" name="125 - TextBox"/>
          <p:cNvSpPr txBox="1"/>
          <p:nvPr/>
        </p:nvSpPr>
        <p:spPr>
          <a:xfrm>
            <a:off x="8752114" y="1190172"/>
            <a:ext cx="3164115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Our final dataset contains information about 889 documents from different SDG’s.</a:t>
            </a:r>
          </a:p>
          <a:p>
            <a:pPr>
              <a:buFont typeface="Arial" pitchFamily="34" charset="0"/>
              <a:buChar char="•"/>
            </a:pPr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 We split the dataset into train and validation and we use the blind dataset for testing.</a:t>
            </a:r>
          </a:p>
          <a:p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 Input variables: </a:t>
            </a:r>
          </a:p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	-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</a:rPr>
              <a:t>extracted_title</a:t>
            </a:r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 	-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</a:rPr>
              <a:t>extracted_abstract</a:t>
            </a:r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	-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</a:rPr>
              <a:t>initial_text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 </a:t>
            </a:r>
          </a:p>
          <a:p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 output: SDG</a:t>
            </a:r>
          </a:p>
          <a:p>
            <a:pPr>
              <a:buFont typeface="Arial" pitchFamily="34" charset="0"/>
              <a:buChar char="•"/>
            </a:pPr>
            <a:endParaRPr lang="en-US" dirty="0"/>
          </a:p>
          <a:p>
            <a:pPr>
              <a:buFont typeface="Arial" pitchFamily="34" charset="0"/>
              <a:buChar char="•"/>
            </a:pPr>
            <a:endParaRPr lang="en-US" dirty="0"/>
          </a:p>
          <a:p>
            <a:endParaRPr lang="el-GR" dirty="0"/>
          </a:p>
        </p:txBody>
      </p:sp>
      <p:sp>
        <p:nvSpPr>
          <p:cNvPr id="67" name="66 - TextBox"/>
          <p:cNvSpPr txBox="1"/>
          <p:nvPr/>
        </p:nvSpPr>
        <p:spPr>
          <a:xfrm>
            <a:off x="1553028" y="5384800"/>
            <a:ext cx="30900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One Hot Encoding and Count Vectorizer to convert the data to numerical</a:t>
            </a:r>
            <a:endParaRPr lang="el-GR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68" name="67 - TextBox"/>
          <p:cNvSpPr txBox="1"/>
          <p:nvPr/>
        </p:nvSpPr>
        <p:spPr>
          <a:xfrm>
            <a:off x="5373803" y="1450494"/>
            <a:ext cx="3454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Normalization of both input and output variables to 0,1</a:t>
            </a:r>
            <a:endParaRPr lang="el-GR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69" name="Algorythm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980457" y="2219472"/>
            <a:ext cx="357310" cy="542925"/>
            <a:chOff x="89" y="9"/>
            <a:chExt cx="308" cy="468"/>
          </a:xfrm>
          <a:solidFill>
            <a:schemeClr val="accent1"/>
          </a:solidFill>
        </p:grpSpPr>
        <p:sp>
          <p:nvSpPr>
            <p:cNvPr id="70" name="Algorythm"/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254" y="135"/>
              <a:ext cx="36" cy="49"/>
            </a:xfrm>
            <a:custGeom>
              <a:avLst/>
              <a:gdLst>
                <a:gd name="T0" fmla="*/ 68 w 94"/>
                <a:gd name="T1" fmla="*/ 126 h 130"/>
                <a:gd name="T2" fmla="*/ 47 w 94"/>
                <a:gd name="T3" fmla="*/ 130 h 130"/>
                <a:gd name="T4" fmla="*/ 28 w 94"/>
                <a:gd name="T5" fmla="*/ 126 h 130"/>
                <a:gd name="T6" fmla="*/ 0 w 94"/>
                <a:gd name="T7" fmla="*/ 82 h 130"/>
                <a:gd name="T8" fmla="*/ 0 w 94"/>
                <a:gd name="T9" fmla="*/ 47 h 130"/>
                <a:gd name="T10" fmla="*/ 28 w 94"/>
                <a:gd name="T11" fmla="*/ 4 h 130"/>
                <a:gd name="T12" fmla="*/ 47 w 94"/>
                <a:gd name="T13" fmla="*/ 0 h 130"/>
                <a:gd name="T14" fmla="*/ 66 w 94"/>
                <a:gd name="T15" fmla="*/ 4 h 130"/>
                <a:gd name="T16" fmla="*/ 94 w 94"/>
                <a:gd name="T17" fmla="*/ 47 h 130"/>
                <a:gd name="T18" fmla="*/ 94 w 94"/>
                <a:gd name="T19" fmla="*/ 82 h 130"/>
                <a:gd name="T20" fmla="*/ 68 w 94"/>
                <a:gd name="T21" fmla="*/ 126 h 130"/>
                <a:gd name="T22" fmla="*/ 61 w 94"/>
                <a:gd name="T23" fmla="*/ 47 h 130"/>
                <a:gd name="T24" fmla="*/ 47 w 94"/>
                <a:gd name="T25" fmla="*/ 28 h 130"/>
                <a:gd name="T26" fmla="*/ 32 w 94"/>
                <a:gd name="T27" fmla="*/ 47 h 130"/>
                <a:gd name="T28" fmla="*/ 32 w 94"/>
                <a:gd name="T29" fmla="*/ 83 h 130"/>
                <a:gd name="T30" fmla="*/ 47 w 94"/>
                <a:gd name="T31" fmla="*/ 102 h 130"/>
                <a:gd name="T32" fmla="*/ 61 w 94"/>
                <a:gd name="T33" fmla="*/ 83 h 130"/>
                <a:gd name="T34" fmla="*/ 61 w 94"/>
                <a:gd name="T35" fmla="*/ 4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" h="130">
                  <a:moveTo>
                    <a:pt x="68" y="126"/>
                  </a:moveTo>
                  <a:cubicBezTo>
                    <a:pt x="61" y="129"/>
                    <a:pt x="54" y="130"/>
                    <a:pt x="47" y="130"/>
                  </a:cubicBezTo>
                  <a:cubicBezTo>
                    <a:pt x="41" y="130"/>
                    <a:pt x="34" y="129"/>
                    <a:pt x="28" y="126"/>
                  </a:cubicBezTo>
                  <a:cubicBezTo>
                    <a:pt x="9" y="118"/>
                    <a:pt x="0" y="102"/>
                    <a:pt x="0" y="82"/>
                  </a:cubicBezTo>
                  <a:lnTo>
                    <a:pt x="0" y="47"/>
                  </a:lnTo>
                  <a:cubicBezTo>
                    <a:pt x="0" y="27"/>
                    <a:pt x="9" y="11"/>
                    <a:pt x="28" y="4"/>
                  </a:cubicBezTo>
                  <a:cubicBezTo>
                    <a:pt x="34" y="1"/>
                    <a:pt x="41" y="0"/>
                    <a:pt x="47" y="0"/>
                  </a:cubicBezTo>
                  <a:cubicBezTo>
                    <a:pt x="54" y="0"/>
                    <a:pt x="60" y="1"/>
                    <a:pt x="66" y="4"/>
                  </a:cubicBezTo>
                  <a:cubicBezTo>
                    <a:pt x="85" y="12"/>
                    <a:pt x="94" y="28"/>
                    <a:pt x="94" y="47"/>
                  </a:cubicBezTo>
                  <a:lnTo>
                    <a:pt x="94" y="82"/>
                  </a:lnTo>
                  <a:cubicBezTo>
                    <a:pt x="94" y="101"/>
                    <a:pt x="86" y="117"/>
                    <a:pt x="68" y="126"/>
                  </a:cubicBezTo>
                  <a:close/>
                  <a:moveTo>
                    <a:pt x="61" y="47"/>
                  </a:moveTo>
                  <a:cubicBezTo>
                    <a:pt x="61" y="37"/>
                    <a:pt x="58" y="28"/>
                    <a:pt x="47" y="28"/>
                  </a:cubicBezTo>
                  <a:cubicBezTo>
                    <a:pt x="36" y="28"/>
                    <a:pt x="32" y="37"/>
                    <a:pt x="32" y="47"/>
                  </a:cubicBezTo>
                  <a:lnTo>
                    <a:pt x="32" y="83"/>
                  </a:lnTo>
                  <a:cubicBezTo>
                    <a:pt x="32" y="93"/>
                    <a:pt x="36" y="102"/>
                    <a:pt x="47" y="102"/>
                  </a:cubicBezTo>
                  <a:cubicBezTo>
                    <a:pt x="58" y="102"/>
                    <a:pt x="61" y="93"/>
                    <a:pt x="61" y="83"/>
                  </a:cubicBezTo>
                  <a:lnTo>
                    <a:pt x="61" y="4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Algorythm"/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222" y="54"/>
              <a:ext cx="41" cy="49"/>
            </a:xfrm>
            <a:custGeom>
              <a:avLst/>
              <a:gdLst>
                <a:gd name="T0" fmla="*/ 61 w 110"/>
                <a:gd name="T1" fmla="*/ 129 h 131"/>
                <a:gd name="T2" fmla="*/ 39 w 110"/>
                <a:gd name="T3" fmla="*/ 129 h 131"/>
                <a:gd name="T4" fmla="*/ 22 w 110"/>
                <a:gd name="T5" fmla="*/ 120 h 131"/>
                <a:gd name="T6" fmla="*/ 5 w 110"/>
                <a:gd name="T7" fmla="*/ 71 h 131"/>
                <a:gd name="T8" fmla="*/ 14 w 110"/>
                <a:gd name="T9" fmla="*/ 37 h 131"/>
                <a:gd name="T10" fmla="*/ 52 w 110"/>
                <a:gd name="T11" fmla="*/ 1 h 131"/>
                <a:gd name="T12" fmla="*/ 72 w 110"/>
                <a:gd name="T13" fmla="*/ 2 h 131"/>
                <a:gd name="T14" fmla="*/ 89 w 110"/>
                <a:gd name="T15" fmla="*/ 11 h 131"/>
                <a:gd name="T16" fmla="*/ 105 w 110"/>
                <a:gd name="T17" fmla="*/ 60 h 131"/>
                <a:gd name="T18" fmla="*/ 96 w 110"/>
                <a:gd name="T19" fmla="*/ 94 h 131"/>
                <a:gd name="T20" fmla="*/ 61 w 110"/>
                <a:gd name="T21" fmla="*/ 129 h 131"/>
                <a:gd name="T22" fmla="*/ 74 w 110"/>
                <a:gd name="T23" fmla="*/ 51 h 131"/>
                <a:gd name="T24" fmla="*/ 64 w 110"/>
                <a:gd name="T25" fmla="*/ 30 h 131"/>
                <a:gd name="T26" fmla="*/ 45 w 110"/>
                <a:gd name="T27" fmla="*/ 44 h 131"/>
                <a:gd name="T28" fmla="*/ 36 w 110"/>
                <a:gd name="T29" fmla="*/ 79 h 131"/>
                <a:gd name="T30" fmla="*/ 46 w 110"/>
                <a:gd name="T31" fmla="*/ 101 h 131"/>
                <a:gd name="T32" fmla="*/ 65 w 110"/>
                <a:gd name="T33" fmla="*/ 87 h 131"/>
                <a:gd name="T34" fmla="*/ 74 w 110"/>
                <a:gd name="T35" fmla="*/ 5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131">
                  <a:moveTo>
                    <a:pt x="61" y="129"/>
                  </a:moveTo>
                  <a:cubicBezTo>
                    <a:pt x="54" y="131"/>
                    <a:pt x="46" y="130"/>
                    <a:pt x="39" y="129"/>
                  </a:cubicBezTo>
                  <a:cubicBezTo>
                    <a:pt x="33" y="127"/>
                    <a:pt x="27" y="124"/>
                    <a:pt x="22" y="120"/>
                  </a:cubicBezTo>
                  <a:cubicBezTo>
                    <a:pt x="6" y="108"/>
                    <a:pt x="0" y="90"/>
                    <a:pt x="5" y="71"/>
                  </a:cubicBezTo>
                  <a:lnTo>
                    <a:pt x="14" y="37"/>
                  </a:lnTo>
                  <a:cubicBezTo>
                    <a:pt x="19" y="17"/>
                    <a:pt x="32" y="4"/>
                    <a:pt x="52" y="1"/>
                  </a:cubicBezTo>
                  <a:cubicBezTo>
                    <a:pt x="59" y="0"/>
                    <a:pt x="65" y="1"/>
                    <a:pt x="72" y="2"/>
                  </a:cubicBezTo>
                  <a:cubicBezTo>
                    <a:pt x="78" y="4"/>
                    <a:pt x="84" y="7"/>
                    <a:pt x="89" y="11"/>
                  </a:cubicBezTo>
                  <a:cubicBezTo>
                    <a:pt x="105" y="23"/>
                    <a:pt x="110" y="41"/>
                    <a:pt x="105" y="60"/>
                  </a:cubicBezTo>
                  <a:lnTo>
                    <a:pt x="96" y="94"/>
                  </a:lnTo>
                  <a:cubicBezTo>
                    <a:pt x="91" y="112"/>
                    <a:pt x="80" y="126"/>
                    <a:pt x="61" y="129"/>
                  </a:cubicBezTo>
                  <a:close/>
                  <a:moveTo>
                    <a:pt x="74" y="51"/>
                  </a:moveTo>
                  <a:cubicBezTo>
                    <a:pt x="76" y="42"/>
                    <a:pt x="75" y="32"/>
                    <a:pt x="64" y="30"/>
                  </a:cubicBezTo>
                  <a:cubicBezTo>
                    <a:pt x="54" y="27"/>
                    <a:pt x="48" y="35"/>
                    <a:pt x="45" y="44"/>
                  </a:cubicBezTo>
                  <a:lnTo>
                    <a:pt x="36" y="79"/>
                  </a:lnTo>
                  <a:cubicBezTo>
                    <a:pt x="34" y="89"/>
                    <a:pt x="35" y="98"/>
                    <a:pt x="46" y="101"/>
                  </a:cubicBezTo>
                  <a:cubicBezTo>
                    <a:pt x="57" y="104"/>
                    <a:pt x="62" y="96"/>
                    <a:pt x="65" y="87"/>
                  </a:cubicBezTo>
                  <a:lnTo>
                    <a:pt x="74" y="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Algorythm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64" y="9"/>
              <a:ext cx="23" cy="48"/>
            </a:xfrm>
            <a:custGeom>
              <a:avLst/>
              <a:gdLst>
                <a:gd name="T0" fmla="*/ 29 w 61"/>
                <a:gd name="T1" fmla="*/ 127 h 127"/>
                <a:gd name="T2" fmla="*/ 22 w 61"/>
                <a:gd name="T3" fmla="*/ 29 h 127"/>
                <a:gd name="T4" fmla="*/ 2 w 61"/>
                <a:gd name="T5" fmla="*/ 30 h 127"/>
                <a:gd name="T6" fmla="*/ 0 w 61"/>
                <a:gd name="T7" fmla="*/ 3 h 127"/>
                <a:gd name="T8" fmla="*/ 52 w 61"/>
                <a:gd name="T9" fmla="*/ 0 h 127"/>
                <a:gd name="T10" fmla="*/ 61 w 61"/>
                <a:gd name="T11" fmla="*/ 125 h 127"/>
                <a:gd name="T12" fmla="*/ 29 w 61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7">
                  <a:moveTo>
                    <a:pt x="29" y="127"/>
                  </a:moveTo>
                  <a:lnTo>
                    <a:pt x="22" y="29"/>
                  </a:lnTo>
                  <a:lnTo>
                    <a:pt x="2" y="30"/>
                  </a:lnTo>
                  <a:lnTo>
                    <a:pt x="0" y="3"/>
                  </a:lnTo>
                  <a:lnTo>
                    <a:pt x="52" y="0"/>
                  </a:lnTo>
                  <a:lnTo>
                    <a:pt x="61" y="125"/>
                  </a:lnTo>
                  <a:lnTo>
                    <a:pt x="29" y="1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Algorythm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98" y="133"/>
              <a:ext cx="23" cy="48"/>
            </a:xfrm>
            <a:custGeom>
              <a:avLst/>
              <a:gdLst>
                <a:gd name="T0" fmla="*/ 29 w 61"/>
                <a:gd name="T1" fmla="*/ 127 h 127"/>
                <a:gd name="T2" fmla="*/ 22 w 61"/>
                <a:gd name="T3" fmla="*/ 29 h 127"/>
                <a:gd name="T4" fmla="*/ 2 w 61"/>
                <a:gd name="T5" fmla="*/ 30 h 127"/>
                <a:gd name="T6" fmla="*/ 0 w 61"/>
                <a:gd name="T7" fmla="*/ 3 h 127"/>
                <a:gd name="T8" fmla="*/ 53 w 61"/>
                <a:gd name="T9" fmla="*/ 0 h 127"/>
                <a:gd name="T10" fmla="*/ 61 w 61"/>
                <a:gd name="T11" fmla="*/ 125 h 127"/>
                <a:gd name="T12" fmla="*/ 29 w 61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7">
                  <a:moveTo>
                    <a:pt x="29" y="127"/>
                  </a:moveTo>
                  <a:lnTo>
                    <a:pt x="22" y="29"/>
                  </a:lnTo>
                  <a:lnTo>
                    <a:pt x="2" y="30"/>
                  </a:lnTo>
                  <a:lnTo>
                    <a:pt x="0" y="3"/>
                  </a:lnTo>
                  <a:lnTo>
                    <a:pt x="53" y="0"/>
                  </a:lnTo>
                  <a:lnTo>
                    <a:pt x="61" y="125"/>
                  </a:lnTo>
                  <a:lnTo>
                    <a:pt x="29" y="1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Algorythm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303" y="90"/>
              <a:ext cx="26" cy="51"/>
            </a:xfrm>
            <a:custGeom>
              <a:avLst/>
              <a:gdLst>
                <a:gd name="T0" fmla="*/ 0 w 71"/>
                <a:gd name="T1" fmla="*/ 126 h 136"/>
                <a:gd name="T2" fmla="*/ 32 w 71"/>
                <a:gd name="T3" fmla="*/ 32 h 136"/>
                <a:gd name="T4" fmla="*/ 12 w 71"/>
                <a:gd name="T5" fmla="*/ 26 h 136"/>
                <a:gd name="T6" fmla="*/ 21 w 71"/>
                <a:gd name="T7" fmla="*/ 0 h 136"/>
                <a:gd name="T8" fmla="*/ 71 w 71"/>
                <a:gd name="T9" fmla="*/ 17 h 136"/>
                <a:gd name="T10" fmla="*/ 30 w 71"/>
                <a:gd name="T11" fmla="*/ 136 h 136"/>
                <a:gd name="T12" fmla="*/ 0 w 71"/>
                <a:gd name="T13" fmla="*/ 12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136">
                  <a:moveTo>
                    <a:pt x="0" y="126"/>
                  </a:moveTo>
                  <a:lnTo>
                    <a:pt x="32" y="32"/>
                  </a:lnTo>
                  <a:lnTo>
                    <a:pt x="12" y="26"/>
                  </a:lnTo>
                  <a:lnTo>
                    <a:pt x="21" y="0"/>
                  </a:lnTo>
                  <a:lnTo>
                    <a:pt x="71" y="17"/>
                  </a:lnTo>
                  <a:lnTo>
                    <a:pt x="30" y="136"/>
                  </a:lnTo>
                  <a:lnTo>
                    <a:pt x="0" y="12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Algorythm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36" y="100"/>
              <a:ext cx="23" cy="48"/>
            </a:xfrm>
            <a:custGeom>
              <a:avLst/>
              <a:gdLst>
                <a:gd name="T0" fmla="*/ 29 w 61"/>
                <a:gd name="T1" fmla="*/ 128 h 128"/>
                <a:gd name="T2" fmla="*/ 22 w 61"/>
                <a:gd name="T3" fmla="*/ 29 h 128"/>
                <a:gd name="T4" fmla="*/ 2 w 61"/>
                <a:gd name="T5" fmla="*/ 31 h 128"/>
                <a:gd name="T6" fmla="*/ 0 w 61"/>
                <a:gd name="T7" fmla="*/ 4 h 128"/>
                <a:gd name="T8" fmla="*/ 53 w 61"/>
                <a:gd name="T9" fmla="*/ 0 h 128"/>
                <a:gd name="T10" fmla="*/ 61 w 61"/>
                <a:gd name="T11" fmla="*/ 125 h 128"/>
                <a:gd name="T12" fmla="*/ 29 w 61"/>
                <a:gd name="T13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8">
                  <a:moveTo>
                    <a:pt x="29" y="128"/>
                  </a:moveTo>
                  <a:lnTo>
                    <a:pt x="22" y="29"/>
                  </a:lnTo>
                  <a:lnTo>
                    <a:pt x="2" y="31"/>
                  </a:lnTo>
                  <a:lnTo>
                    <a:pt x="0" y="4"/>
                  </a:lnTo>
                  <a:lnTo>
                    <a:pt x="53" y="0"/>
                  </a:lnTo>
                  <a:lnTo>
                    <a:pt x="61" y="125"/>
                  </a:lnTo>
                  <a:lnTo>
                    <a:pt x="29" y="12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Algorythm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82" y="25"/>
              <a:ext cx="21" cy="50"/>
            </a:xfrm>
            <a:custGeom>
              <a:avLst/>
              <a:gdLst>
                <a:gd name="T0" fmla="*/ 6 w 56"/>
                <a:gd name="T1" fmla="*/ 127 h 132"/>
                <a:gd name="T2" fmla="*/ 20 w 56"/>
                <a:gd name="T3" fmla="*/ 29 h 132"/>
                <a:gd name="T4" fmla="*/ 0 w 56"/>
                <a:gd name="T5" fmla="*/ 26 h 132"/>
                <a:gd name="T6" fmla="*/ 4 w 56"/>
                <a:gd name="T7" fmla="*/ 0 h 132"/>
                <a:gd name="T8" fmla="*/ 56 w 56"/>
                <a:gd name="T9" fmla="*/ 7 h 132"/>
                <a:gd name="T10" fmla="*/ 37 w 56"/>
                <a:gd name="T11" fmla="*/ 132 h 132"/>
                <a:gd name="T12" fmla="*/ 6 w 56"/>
                <a:gd name="T13" fmla="*/ 127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132">
                  <a:moveTo>
                    <a:pt x="6" y="127"/>
                  </a:moveTo>
                  <a:lnTo>
                    <a:pt x="20" y="29"/>
                  </a:lnTo>
                  <a:lnTo>
                    <a:pt x="0" y="26"/>
                  </a:lnTo>
                  <a:lnTo>
                    <a:pt x="4" y="0"/>
                  </a:lnTo>
                  <a:lnTo>
                    <a:pt x="56" y="7"/>
                  </a:lnTo>
                  <a:lnTo>
                    <a:pt x="37" y="132"/>
                  </a:lnTo>
                  <a:lnTo>
                    <a:pt x="6" y="1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Algorythm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15" y="422"/>
              <a:ext cx="55" cy="5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Algorythm"/>
            <p:cNvSpPr>
              <a:spLocks noEditPoints="1"/>
            </p:cNvSpPr>
            <p:nvPr>
              <p:custDataLst>
                <p:tags r:id="rId14"/>
              </p:custDataLst>
            </p:nvPr>
          </p:nvSpPr>
          <p:spPr bwMode="auto">
            <a:xfrm>
              <a:off x="89" y="108"/>
              <a:ext cx="308" cy="300"/>
            </a:xfrm>
            <a:custGeom>
              <a:avLst/>
              <a:gdLst>
                <a:gd name="T0" fmla="*/ 410 w 820"/>
                <a:gd name="T1" fmla="*/ 0 h 797"/>
                <a:gd name="T2" fmla="*/ 1 w 820"/>
                <a:gd name="T3" fmla="*/ 80 h 797"/>
                <a:gd name="T4" fmla="*/ 0 w 820"/>
                <a:gd name="T5" fmla="*/ 80 h 797"/>
                <a:gd name="T6" fmla="*/ 0 w 820"/>
                <a:gd name="T7" fmla="*/ 81 h 797"/>
                <a:gd name="T8" fmla="*/ 0 w 820"/>
                <a:gd name="T9" fmla="*/ 82 h 797"/>
                <a:gd name="T10" fmla="*/ 29 w 820"/>
                <a:gd name="T11" fmla="*/ 112 h 797"/>
                <a:gd name="T12" fmla="*/ 343 w 820"/>
                <a:gd name="T13" fmla="*/ 463 h 797"/>
                <a:gd name="T14" fmla="*/ 343 w 820"/>
                <a:gd name="T15" fmla="*/ 789 h 797"/>
                <a:gd name="T16" fmla="*/ 351 w 820"/>
                <a:gd name="T17" fmla="*/ 797 h 797"/>
                <a:gd name="T18" fmla="*/ 475 w 820"/>
                <a:gd name="T19" fmla="*/ 753 h 797"/>
                <a:gd name="T20" fmla="*/ 476 w 820"/>
                <a:gd name="T21" fmla="*/ 748 h 797"/>
                <a:gd name="T22" fmla="*/ 476 w 820"/>
                <a:gd name="T23" fmla="*/ 463 h 797"/>
                <a:gd name="T24" fmla="*/ 789 w 820"/>
                <a:gd name="T25" fmla="*/ 113 h 797"/>
                <a:gd name="T26" fmla="*/ 820 w 820"/>
                <a:gd name="T27" fmla="*/ 82 h 797"/>
                <a:gd name="T28" fmla="*/ 410 w 820"/>
                <a:gd name="T29" fmla="*/ 0 h 797"/>
                <a:gd name="T30" fmla="*/ 662 w 820"/>
                <a:gd name="T31" fmla="*/ 99 h 797"/>
                <a:gd name="T32" fmla="*/ 410 w 820"/>
                <a:gd name="T33" fmla="*/ 117 h 797"/>
                <a:gd name="T34" fmla="*/ 158 w 820"/>
                <a:gd name="T35" fmla="*/ 99 h 797"/>
                <a:gd name="T36" fmla="*/ 81 w 820"/>
                <a:gd name="T37" fmla="*/ 82 h 797"/>
                <a:gd name="T38" fmla="*/ 158 w 820"/>
                <a:gd name="T39" fmla="*/ 65 h 797"/>
                <a:gd name="T40" fmla="*/ 410 w 820"/>
                <a:gd name="T41" fmla="*/ 47 h 797"/>
                <a:gd name="T42" fmla="*/ 662 w 820"/>
                <a:gd name="T43" fmla="*/ 65 h 797"/>
                <a:gd name="T44" fmla="*/ 739 w 820"/>
                <a:gd name="T45" fmla="*/ 82 h 797"/>
                <a:gd name="T46" fmla="*/ 662 w 820"/>
                <a:gd name="T47" fmla="*/ 99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20" h="797">
                  <a:moveTo>
                    <a:pt x="410" y="0"/>
                  </a:moveTo>
                  <a:cubicBezTo>
                    <a:pt x="187" y="0"/>
                    <a:pt x="6" y="36"/>
                    <a:pt x="1" y="80"/>
                  </a:cubicBezTo>
                  <a:cubicBezTo>
                    <a:pt x="0" y="80"/>
                    <a:pt x="0" y="80"/>
                    <a:pt x="0" y="80"/>
                  </a:cubicBezTo>
                  <a:lnTo>
                    <a:pt x="0" y="81"/>
                  </a:lnTo>
                  <a:cubicBezTo>
                    <a:pt x="0" y="81"/>
                    <a:pt x="0" y="82"/>
                    <a:pt x="0" y="82"/>
                  </a:cubicBezTo>
                  <a:cubicBezTo>
                    <a:pt x="0" y="93"/>
                    <a:pt x="10" y="103"/>
                    <a:pt x="29" y="112"/>
                  </a:cubicBezTo>
                  <a:lnTo>
                    <a:pt x="343" y="463"/>
                  </a:lnTo>
                  <a:lnTo>
                    <a:pt x="343" y="789"/>
                  </a:lnTo>
                  <a:cubicBezTo>
                    <a:pt x="343" y="794"/>
                    <a:pt x="346" y="797"/>
                    <a:pt x="351" y="797"/>
                  </a:cubicBezTo>
                  <a:cubicBezTo>
                    <a:pt x="439" y="797"/>
                    <a:pt x="473" y="755"/>
                    <a:pt x="475" y="753"/>
                  </a:cubicBezTo>
                  <a:cubicBezTo>
                    <a:pt x="476" y="752"/>
                    <a:pt x="476" y="750"/>
                    <a:pt x="476" y="748"/>
                  </a:cubicBezTo>
                  <a:lnTo>
                    <a:pt x="476" y="463"/>
                  </a:lnTo>
                  <a:lnTo>
                    <a:pt x="789" y="113"/>
                  </a:lnTo>
                  <a:cubicBezTo>
                    <a:pt x="809" y="104"/>
                    <a:pt x="820" y="93"/>
                    <a:pt x="820" y="82"/>
                  </a:cubicBezTo>
                  <a:cubicBezTo>
                    <a:pt x="820" y="37"/>
                    <a:pt x="636" y="0"/>
                    <a:pt x="410" y="0"/>
                  </a:cubicBezTo>
                  <a:close/>
                  <a:moveTo>
                    <a:pt x="662" y="99"/>
                  </a:moveTo>
                  <a:cubicBezTo>
                    <a:pt x="592" y="111"/>
                    <a:pt x="502" y="117"/>
                    <a:pt x="410" y="117"/>
                  </a:cubicBezTo>
                  <a:cubicBezTo>
                    <a:pt x="318" y="117"/>
                    <a:pt x="229" y="111"/>
                    <a:pt x="158" y="99"/>
                  </a:cubicBezTo>
                  <a:cubicBezTo>
                    <a:pt x="124" y="93"/>
                    <a:pt x="99" y="88"/>
                    <a:pt x="81" y="82"/>
                  </a:cubicBezTo>
                  <a:cubicBezTo>
                    <a:pt x="99" y="77"/>
                    <a:pt x="124" y="71"/>
                    <a:pt x="158" y="65"/>
                  </a:cubicBezTo>
                  <a:cubicBezTo>
                    <a:pt x="229" y="54"/>
                    <a:pt x="318" y="47"/>
                    <a:pt x="410" y="47"/>
                  </a:cubicBezTo>
                  <a:cubicBezTo>
                    <a:pt x="502" y="47"/>
                    <a:pt x="592" y="54"/>
                    <a:pt x="662" y="65"/>
                  </a:cubicBezTo>
                  <a:cubicBezTo>
                    <a:pt x="696" y="71"/>
                    <a:pt x="721" y="77"/>
                    <a:pt x="739" y="82"/>
                  </a:cubicBezTo>
                  <a:cubicBezTo>
                    <a:pt x="721" y="88"/>
                    <a:pt x="696" y="93"/>
                    <a:pt x="662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4" name="Analytics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2152650" y="3386137"/>
            <a:ext cx="611057" cy="542925"/>
            <a:chOff x="7005638" y="5538789"/>
            <a:chExt cx="911225" cy="809625"/>
          </a:xfrm>
          <a:solidFill>
            <a:schemeClr val="accent1"/>
          </a:solidFill>
        </p:grpSpPr>
        <p:sp>
          <p:nvSpPr>
            <p:cNvPr id="115" name="Rectangle 48"/>
            <p:cNvSpPr>
              <a:spLocks noChangeArrowheads="1"/>
            </p:cNvSpPr>
            <p:nvPr/>
          </p:nvSpPr>
          <p:spPr bwMode="auto">
            <a:xfrm>
              <a:off x="7005638" y="6299201"/>
              <a:ext cx="741363" cy="492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reeform 49"/>
            <p:cNvSpPr>
              <a:spLocks/>
            </p:cNvSpPr>
            <p:nvPr/>
          </p:nvSpPr>
          <p:spPr bwMode="auto">
            <a:xfrm>
              <a:off x="7524751" y="5842001"/>
              <a:ext cx="153988" cy="114300"/>
            </a:xfrm>
            <a:custGeom>
              <a:avLst/>
              <a:gdLst>
                <a:gd name="T0" fmla="*/ 202 w 202"/>
                <a:gd name="T1" fmla="*/ 64 h 149"/>
                <a:gd name="T2" fmla="*/ 202 w 202"/>
                <a:gd name="T3" fmla="*/ 0 h 149"/>
                <a:gd name="T4" fmla="*/ 0 w 202"/>
                <a:gd name="T5" fmla="*/ 0 h 149"/>
                <a:gd name="T6" fmla="*/ 0 w 202"/>
                <a:gd name="T7" fmla="*/ 147 h 149"/>
                <a:gd name="T8" fmla="*/ 27 w 202"/>
                <a:gd name="T9" fmla="*/ 149 h 149"/>
                <a:gd name="T10" fmla="*/ 202 w 202"/>
                <a:gd name="T11" fmla="*/ 6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2" h="149">
                  <a:moveTo>
                    <a:pt x="202" y="64"/>
                  </a:moveTo>
                  <a:lnTo>
                    <a:pt x="202" y="0"/>
                  </a:lnTo>
                  <a:lnTo>
                    <a:pt x="0" y="0"/>
                  </a:lnTo>
                  <a:lnTo>
                    <a:pt x="0" y="147"/>
                  </a:lnTo>
                  <a:cubicBezTo>
                    <a:pt x="9" y="148"/>
                    <a:pt x="18" y="149"/>
                    <a:pt x="27" y="149"/>
                  </a:cubicBezTo>
                  <a:cubicBezTo>
                    <a:pt x="98" y="149"/>
                    <a:pt x="161" y="116"/>
                    <a:pt x="202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Freeform 50"/>
            <p:cNvSpPr>
              <a:spLocks/>
            </p:cNvSpPr>
            <p:nvPr/>
          </p:nvSpPr>
          <p:spPr bwMode="auto">
            <a:xfrm>
              <a:off x="7524751" y="6021389"/>
              <a:ext cx="153988" cy="231775"/>
            </a:xfrm>
            <a:custGeom>
              <a:avLst/>
              <a:gdLst>
                <a:gd name="T0" fmla="*/ 27 w 202"/>
                <a:gd name="T1" fmla="*/ 46 h 304"/>
                <a:gd name="T2" fmla="*/ 0 w 202"/>
                <a:gd name="T3" fmla="*/ 45 h 304"/>
                <a:gd name="T4" fmla="*/ 0 w 202"/>
                <a:gd name="T5" fmla="*/ 304 h 304"/>
                <a:gd name="T6" fmla="*/ 202 w 202"/>
                <a:gd name="T7" fmla="*/ 304 h 304"/>
                <a:gd name="T8" fmla="*/ 202 w 202"/>
                <a:gd name="T9" fmla="*/ 0 h 304"/>
                <a:gd name="T10" fmla="*/ 27 w 202"/>
                <a:gd name="T11" fmla="*/ 46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2" h="304">
                  <a:moveTo>
                    <a:pt x="27" y="46"/>
                  </a:moveTo>
                  <a:cubicBezTo>
                    <a:pt x="18" y="46"/>
                    <a:pt x="9" y="46"/>
                    <a:pt x="0" y="45"/>
                  </a:cubicBezTo>
                  <a:lnTo>
                    <a:pt x="0" y="304"/>
                  </a:lnTo>
                  <a:lnTo>
                    <a:pt x="202" y="304"/>
                  </a:lnTo>
                  <a:lnTo>
                    <a:pt x="202" y="0"/>
                  </a:lnTo>
                  <a:cubicBezTo>
                    <a:pt x="149" y="30"/>
                    <a:pt x="88" y="46"/>
                    <a:pt x="27" y="46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Rectangle 51"/>
            <p:cNvSpPr>
              <a:spLocks noChangeArrowheads="1"/>
            </p:cNvSpPr>
            <p:nvPr/>
          </p:nvSpPr>
          <p:spPr bwMode="auto">
            <a:xfrm>
              <a:off x="7086601" y="6029326"/>
              <a:ext cx="153988" cy="223838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 147"/>
            <p:cNvSpPr>
              <a:spLocks/>
            </p:cNvSpPr>
            <p:nvPr/>
          </p:nvSpPr>
          <p:spPr bwMode="auto">
            <a:xfrm>
              <a:off x="7375526" y="5735639"/>
              <a:ext cx="87313" cy="198438"/>
            </a:xfrm>
            <a:custGeom>
              <a:avLst/>
              <a:gdLst>
                <a:gd name="T0" fmla="*/ 11 w 116"/>
                <a:gd name="T1" fmla="*/ 0 h 261"/>
                <a:gd name="T2" fmla="*/ 0 w 116"/>
                <a:gd name="T3" fmla="*/ 66 h 261"/>
                <a:gd name="T4" fmla="*/ 116 w 116"/>
                <a:gd name="T5" fmla="*/ 261 h 261"/>
                <a:gd name="T6" fmla="*/ 116 w 116"/>
                <a:gd name="T7" fmla="*/ 0 h 261"/>
                <a:gd name="T8" fmla="*/ 11 w 116"/>
                <a:gd name="T9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261">
                  <a:moveTo>
                    <a:pt x="11" y="0"/>
                  </a:moveTo>
                  <a:cubicBezTo>
                    <a:pt x="4" y="21"/>
                    <a:pt x="0" y="43"/>
                    <a:pt x="0" y="66"/>
                  </a:cubicBezTo>
                  <a:cubicBezTo>
                    <a:pt x="0" y="150"/>
                    <a:pt x="47" y="223"/>
                    <a:pt x="116" y="261"/>
                  </a:cubicBezTo>
                  <a:lnTo>
                    <a:pt x="116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149"/>
            <p:cNvSpPr>
              <a:spLocks noEditPoints="1"/>
            </p:cNvSpPr>
            <p:nvPr/>
          </p:nvSpPr>
          <p:spPr bwMode="auto">
            <a:xfrm>
              <a:off x="7297738" y="5538789"/>
              <a:ext cx="619125" cy="604838"/>
            </a:xfrm>
            <a:custGeom>
              <a:avLst/>
              <a:gdLst>
                <a:gd name="T0" fmla="*/ 325 w 813"/>
                <a:gd name="T1" fmla="*/ 578 h 794"/>
                <a:gd name="T2" fmla="*/ 72 w 813"/>
                <a:gd name="T3" fmla="*/ 325 h 794"/>
                <a:gd name="T4" fmla="*/ 325 w 813"/>
                <a:gd name="T5" fmla="*/ 72 h 794"/>
                <a:gd name="T6" fmla="*/ 578 w 813"/>
                <a:gd name="T7" fmla="*/ 325 h 794"/>
                <a:gd name="T8" fmla="*/ 325 w 813"/>
                <a:gd name="T9" fmla="*/ 578 h 794"/>
                <a:gd name="T10" fmla="*/ 651 w 813"/>
                <a:gd name="T11" fmla="*/ 544 h 794"/>
                <a:gd name="T12" fmla="*/ 627 w 813"/>
                <a:gd name="T13" fmla="*/ 572 h 794"/>
                <a:gd name="T14" fmla="*/ 579 w 813"/>
                <a:gd name="T15" fmla="*/ 528 h 794"/>
                <a:gd name="T16" fmla="*/ 650 w 813"/>
                <a:gd name="T17" fmla="*/ 325 h 794"/>
                <a:gd name="T18" fmla="*/ 325 w 813"/>
                <a:gd name="T19" fmla="*/ 0 h 794"/>
                <a:gd name="T20" fmla="*/ 0 w 813"/>
                <a:gd name="T21" fmla="*/ 325 h 794"/>
                <a:gd name="T22" fmla="*/ 325 w 813"/>
                <a:gd name="T23" fmla="*/ 650 h 794"/>
                <a:gd name="T24" fmla="*/ 527 w 813"/>
                <a:gd name="T25" fmla="*/ 580 h 794"/>
                <a:gd name="T26" fmla="*/ 579 w 813"/>
                <a:gd name="T27" fmla="*/ 626 h 794"/>
                <a:gd name="T28" fmla="*/ 557 w 813"/>
                <a:gd name="T29" fmla="*/ 650 h 794"/>
                <a:gd name="T30" fmla="*/ 719 w 813"/>
                <a:gd name="T31" fmla="*/ 794 h 794"/>
                <a:gd name="T32" fmla="*/ 813 w 813"/>
                <a:gd name="T33" fmla="*/ 688 h 794"/>
                <a:gd name="T34" fmla="*/ 651 w 813"/>
                <a:gd name="T35" fmla="*/ 54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13" h="794">
                  <a:moveTo>
                    <a:pt x="325" y="578"/>
                  </a:moveTo>
                  <a:cubicBezTo>
                    <a:pt x="186" y="578"/>
                    <a:pt x="72" y="464"/>
                    <a:pt x="72" y="325"/>
                  </a:cubicBezTo>
                  <a:cubicBezTo>
                    <a:pt x="72" y="186"/>
                    <a:pt x="186" y="72"/>
                    <a:pt x="325" y="72"/>
                  </a:cubicBezTo>
                  <a:cubicBezTo>
                    <a:pt x="465" y="72"/>
                    <a:pt x="578" y="186"/>
                    <a:pt x="578" y="325"/>
                  </a:cubicBezTo>
                  <a:cubicBezTo>
                    <a:pt x="578" y="464"/>
                    <a:pt x="465" y="578"/>
                    <a:pt x="325" y="578"/>
                  </a:cubicBezTo>
                  <a:close/>
                  <a:moveTo>
                    <a:pt x="651" y="544"/>
                  </a:moveTo>
                  <a:lnTo>
                    <a:pt x="627" y="572"/>
                  </a:lnTo>
                  <a:lnTo>
                    <a:pt x="579" y="528"/>
                  </a:lnTo>
                  <a:cubicBezTo>
                    <a:pt x="624" y="473"/>
                    <a:pt x="650" y="402"/>
                    <a:pt x="650" y="325"/>
                  </a:cubicBezTo>
                  <a:cubicBezTo>
                    <a:pt x="650" y="146"/>
                    <a:pt x="505" y="0"/>
                    <a:pt x="325" y="0"/>
                  </a:cubicBezTo>
                  <a:cubicBezTo>
                    <a:pt x="146" y="0"/>
                    <a:pt x="0" y="146"/>
                    <a:pt x="0" y="325"/>
                  </a:cubicBezTo>
                  <a:cubicBezTo>
                    <a:pt x="0" y="504"/>
                    <a:pt x="146" y="650"/>
                    <a:pt x="325" y="650"/>
                  </a:cubicBezTo>
                  <a:cubicBezTo>
                    <a:pt x="402" y="650"/>
                    <a:pt x="472" y="624"/>
                    <a:pt x="527" y="580"/>
                  </a:cubicBezTo>
                  <a:lnTo>
                    <a:pt x="579" y="626"/>
                  </a:lnTo>
                  <a:lnTo>
                    <a:pt x="557" y="650"/>
                  </a:lnTo>
                  <a:lnTo>
                    <a:pt x="719" y="794"/>
                  </a:lnTo>
                  <a:lnTo>
                    <a:pt x="813" y="688"/>
                  </a:lnTo>
                  <a:lnTo>
                    <a:pt x="651" y="544"/>
                  </a:lnTo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5" name="Artification_Intelligence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38AC278-7DE6-4D26-993C-C15C5148339C}"/>
              </a:ext>
            </a:extLst>
          </p:cNvPr>
          <p:cNvGrpSpPr>
            <a:grpSpLocks noChangeAspect="1"/>
          </p:cNvGrpSpPr>
          <p:nvPr/>
        </p:nvGrpSpPr>
        <p:grpSpPr>
          <a:xfrm>
            <a:off x="7772400" y="4738687"/>
            <a:ext cx="575408" cy="542925"/>
            <a:chOff x="2316163" y="3028950"/>
            <a:chExt cx="787400" cy="742950"/>
          </a:xfrm>
          <a:solidFill>
            <a:schemeClr val="accent1"/>
          </a:solidFill>
        </p:grpSpPr>
        <p:sp>
          <p:nvSpPr>
            <p:cNvPr id="127" name="Freeform: Shape 661">
              <a:extLst>
                <a:ext uri="{FF2B5EF4-FFF2-40B4-BE49-F238E27FC236}">
                  <a16:creationId xmlns:a16="http://schemas.microsoft.com/office/drawing/2014/main" id="{95A54160-B716-4A88-A76A-67A61F4E1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6163" y="3032125"/>
              <a:ext cx="379413" cy="739775"/>
            </a:xfrm>
            <a:custGeom>
              <a:avLst/>
              <a:gdLst>
                <a:gd name="connsiteX0" fmla="*/ 115094 w 379413"/>
                <a:gd name="connsiteY0" fmla="*/ 403225 h 739775"/>
                <a:gd name="connsiteX1" fmla="*/ 88900 w 379413"/>
                <a:gd name="connsiteY1" fmla="*/ 430213 h 739775"/>
                <a:gd name="connsiteX2" fmla="*/ 115094 w 379413"/>
                <a:gd name="connsiteY2" fmla="*/ 457201 h 739775"/>
                <a:gd name="connsiteX3" fmla="*/ 141288 w 379413"/>
                <a:gd name="connsiteY3" fmla="*/ 430213 h 739775"/>
                <a:gd name="connsiteX4" fmla="*/ 115094 w 379413"/>
                <a:gd name="connsiteY4" fmla="*/ 403225 h 739775"/>
                <a:gd name="connsiteX5" fmla="*/ 256306 w 379413"/>
                <a:gd name="connsiteY5" fmla="*/ 0 h 739775"/>
                <a:gd name="connsiteX6" fmla="*/ 379413 w 379413"/>
                <a:gd name="connsiteY6" fmla="*/ 123634 h 739775"/>
                <a:gd name="connsiteX7" fmla="*/ 379413 w 379413"/>
                <a:gd name="connsiteY7" fmla="*/ 414338 h 739775"/>
                <a:gd name="connsiteX8" fmla="*/ 373460 w 379413"/>
                <a:gd name="connsiteY8" fmla="*/ 414338 h 739775"/>
                <a:gd name="connsiteX9" fmla="*/ 298450 w 379413"/>
                <a:gd name="connsiteY9" fmla="*/ 488678 h 739775"/>
                <a:gd name="connsiteX10" fmla="*/ 229981 w 379413"/>
                <a:gd name="connsiteY10" fmla="*/ 443189 h 739775"/>
                <a:gd name="connsiteX11" fmla="*/ 224253 w 379413"/>
                <a:gd name="connsiteY11" fmla="*/ 415040 h 739775"/>
                <a:gd name="connsiteX12" fmla="*/ 236803 w 379413"/>
                <a:gd name="connsiteY12" fmla="*/ 409841 h 739775"/>
                <a:gd name="connsiteX13" fmla="*/ 244475 w 379413"/>
                <a:gd name="connsiteY13" fmla="*/ 391319 h 739775"/>
                <a:gd name="connsiteX14" fmla="*/ 218281 w 379413"/>
                <a:gd name="connsiteY14" fmla="*/ 365125 h 739775"/>
                <a:gd name="connsiteX15" fmla="*/ 192087 w 379413"/>
                <a:gd name="connsiteY15" fmla="*/ 391319 h 739775"/>
                <a:gd name="connsiteX16" fmla="*/ 199759 w 379413"/>
                <a:gd name="connsiteY16" fmla="*/ 409841 h 739775"/>
                <a:gd name="connsiteX17" fmla="*/ 212919 w 379413"/>
                <a:gd name="connsiteY17" fmla="*/ 415292 h 739775"/>
                <a:gd name="connsiteX18" fmla="*/ 219527 w 379413"/>
                <a:gd name="connsiteY18" fmla="*/ 447793 h 739775"/>
                <a:gd name="connsiteX19" fmla="*/ 298450 w 379413"/>
                <a:gd name="connsiteY19" fmla="*/ 500063 h 739775"/>
                <a:gd name="connsiteX20" fmla="*/ 377467 w 379413"/>
                <a:gd name="connsiteY20" fmla="*/ 447793 h 739775"/>
                <a:gd name="connsiteX21" fmla="*/ 379413 w 379413"/>
                <a:gd name="connsiteY21" fmla="*/ 438089 h 739775"/>
                <a:gd name="connsiteX22" fmla="*/ 379413 w 379413"/>
                <a:gd name="connsiteY22" fmla="*/ 635058 h 739775"/>
                <a:gd name="connsiteX23" fmla="*/ 275142 w 379413"/>
                <a:gd name="connsiteY23" fmla="*/ 739775 h 739775"/>
                <a:gd name="connsiteX24" fmla="*/ 178460 w 379413"/>
                <a:gd name="connsiteY24" fmla="*/ 675647 h 739775"/>
                <a:gd name="connsiteX25" fmla="*/ 171156 w 379413"/>
                <a:gd name="connsiteY25" fmla="*/ 639763 h 739775"/>
                <a:gd name="connsiteX26" fmla="*/ 176553 w 379413"/>
                <a:gd name="connsiteY26" fmla="*/ 639763 h 739775"/>
                <a:gd name="connsiteX27" fmla="*/ 250825 w 379413"/>
                <a:gd name="connsiteY27" fmla="*/ 599818 h 739775"/>
                <a:gd name="connsiteX28" fmla="*/ 247526 w 379413"/>
                <a:gd name="connsiteY28" fmla="*/ 597672 h 739775"/>
                <a:gd name="connsiteX29" fmla="*/ 264319 w 379413"/>
                <a:gd name="connsiteY29" fmla="*/ 604839 h 739775"/>
                <a:gd name="connsiteX30" fmla="*/ 290513 w 379413"/>
                <a:gd name="connsiteY30" fmla="*/ 577851 h 739775"/>
                <a:gd name="connsiteX31" fmla="*/ 264319 w 379413"/>
                <a:gd name="connsiteY31" fmla="*/ 550863 h 739775"/>
                <a:gd name="connsiteX32" fmla="*/ 238125 w 379413"/>
                <a:gd name="connsiteY32" fmla="*/ 577851 h 739775"/>
                <a:gd name="connsiteX33" fmla="*/ 245586 w 379413"/>
                <a:gd name="connsiteY33" fmla="*/ 596411 h 739775"/>
                <a:gd name="connsiteX34" fmla="*/ 241458 w 379413"/>
                <a:gd name="connsiteY34" fmla="*/ 593725 h 739775"/>
                <a:gd name="connsiteX35" fmla="*/ 171869 w 379413"/>
                <a:gd name="connsiteY35" fmla="*/ 628254 h 739775"/>
                <a:gd name="connsiteX36" fmla="*/ 170459 w 379413"/>
                <a:gd name="connsiteY36" fmla="*/ 636340 h 739775"/>
                <a:gd name="connsiteX37" fmla="*/ 170198 w 379413"/>
                <a:gd name="connsiteY37" fmla="*/ 635058 h 739775"/>
                <a:gd name="connsiteX38" fmla="*/ 170871 w 379413"/>
                <a:gd name="connsiteY38" fmla="*/ 633707 h 739775"/>
                <a:gd name="connsiteX39" fmla="*/ 162125 w 379413"/>
                <a:gd name="connsiteY39" fmla="*/ 635058 h 739775"/>
                <a:gd name="connsiteX40" fmla="*/ 57854 w 379413"/>
                <a:gd name="connsiteY40" fmla="*/ 530341 h 739775"/>
                <a:gd name="connsiteX41" fmla="*/ 64581 w 379413"/>
                <a:gd name="connsiteY41" fmla="*/ 495210 h 739775"/>
                <a:gd name="connsiteX42" fmla="*/ 64474 w 379413"/>
                <a:gd name="connsiteY42" fmla="*/ 495101 h 739775"/>
                <a:gd name="connsiteX43" fmla="*/ 69128 w 379413"/>
                <a:gd name="connsiteY43" fmla="*/ 496888 h 739775"/>
                <a:gd name="connsiteX44" fmla="*/ 96837 w 379413"/>
                <a:gd name="connsiteY44" fmla="*/ 454991 h 739775"/>
                <a:gd name="connsiteX45" fmla="*/ 87832 w 379413"/>
                <a:gd name="connsiteY45" fmla="*/ 447675 h 739775"/>
                <a:gd name="connsiteX46" fmla="*/ 66011 w 379413"/>
                <a:gd name="connsiteY46" fmla="*/ 477519 h 739775"/>
                <a:gd name="connsiteX47" fmla="*/ 59905 w 379413"/>
                <a:gd name="connsiteY47" fmla="*/ 490429 h 739775"/>
                <a:gd name="connsiteX48" fmla="*/ 17911 w 379413"/>
                <a:gd name="connsiteY48" fmla="*/ 447496 h 739775"/>
                <a:gd name="connsiteX49" fmla="*/ 0 w 379413"/>
                <a:gd name="connsiteY49" fmla="*/ 381035 h 739775"/>
                <a:gd name="connsiteX50" fmla="*/ 15809 w 379413"/>
                <a:gd name="connsiteY50" fmla="*/ 317530 h 739775"/>
                <a:gd name="connsiteX51" fmla="*/ 54611 w 379413"/>
                <a:gd name="connsiteY51" fmla="*/ 273886 h 739775"/>
                <a:gd name="connsiteX52" fmla="*/ 62300 w 379413"/>
                <a:gd name="connsiteY52" fmla="*/ 284347 h 739775"/>
                <a:gd name="connsiteX53" fmla="*/ 87461 w 379413"/>
                <a:gd name="connsiteY53" fmla="*/ 304155 h 739775"/>
                <a:gd name="connsiteX54" fmla="*/ 84137 w 379413"/>
                <a:gd name="connsiteY54" fmla="*/ 311944 h 739775"/>
                <a:gd name="connsiteX55" fmla="*/ 111125 w 379413"/>
                <a:gd name="connsiteY55" fmla="*/ 338138 h 739775"/>
                <a:gd name="connsiteX56" fmla="*/ 138113 w 379413"/>
                <a:gd name="connsiteY56" fmla="*/ 311944 h 739775"/>
                <a:gd name="connsiteX57" fmla="*/ 111125 w 379413"/>
                <a:gd name="connsiteY57" fmla="*/ 285750 h 739775"/>
                <a:gd name="connsiteX58" fmla="*/ 92042 w 379413"/>
                <a:gd name="connsiteY58" fmla="*/ 293422 h 739775"/>
                <a:gd name="connsiteX59" fmla="*/ 91841 w 379413"/>
                <a:gd name="connsiteY59" fmla="*/ 293893 h 739775"/>
                <a:gd name="connsiteX60" fmla="*/ 70792 w 379413"/>
                <a:gd name="connsiteY60" fmla="*/ 277247 h 739775"/>
                <a:gd name="connsiteX61" fmla="*/ 64065 w 379413"/>
                <a:gd name="connsiteY61" fmla="*/ 268288 h 739775"/>
                <a:gd name="connsiteX62" fmla="*/ 56384 w 379413"/>
                <a:gd name="connsiteY62" fmla="*/ 271891 h 739775"/>
                <a:gd name="connsiteX63" fmla="*/ 57854 w 379413"/>
                <a:gd name="connsiteY63" fmla="*/ 270238 h 739775"/>
                <a:gd name="connsiteX64" fmla="*/ 41036 w 379413"/>
                <a:gd name="connsiteY64" fmla="*/ 216866 h 739775"/>
                <a:gd name="connsiteX65" fmla="*/ 97229 w 379413"/>
                <a:gd name="connsiteY65" fmla="*/ 130981 h 739775"/>
                <a:gd name="connsiteX66" fmla="*/ 128645 w 379413"/>
                <a:gd name="connsiteY66" fmla="*/ 124564 h 739775"/>
                <a:gd name="connsiteX67" fmla="*/ 129534 w 379413"/>
                <a:gd name="connsiteY67" fmla="*/ 135867 h 739775"/>
                <a:gd name="connsiteX68" fmla="*/ 154145 w 379413"/>
                <a:gd name="connsiteY68" fmla="*/ 190146 h 739775"/>
                <a:gd name="connsiteX69" fmla="*/ 186213 w 379413"/>
                <a:gd name="connsiteY69" fmla="*/ 205005 h 739775"/>
                <a:gd name="connsiteX70" fmla="*/ 192055 w 379413"/>
                <a:gd name="connsiteY70" fmla="*/ 219110 h 739775"/>
                <a:gd name="connsiteX71" fmla="*/ 211138 w 379413"/>
                <a:gd name="connsiteY71" fmla="*/ 227014 h 739775"/>
                <a:gd name="connsiteX72" fmla="*/ 238126 w 379413"/>
                <a:gd name="connsiteY72" fmla="*/ 200026 h 739775"/>
                <a:gd name="connsiteX73" fmla="*/ 211138 w 379413"/>
                <a:gd name="connsiteY73" fmla="*/ 173038 h 739775"/>
                <a:gd name="connsiteX74" fmla="*/ 192055 w 379413"/>
                <a:gd name="connsiteY74" fmla="*/ 180943 h 739775"/>
                <a:gd name="connsiteX75" fmla="*/ 186732 w 379413"/>
                <a:gd name="connsiteY75" fmla="*/ 193793 h 739775"/>
                <a:gd name="connsiteX76" fmla="*/ 161146 w 379413"/>
                <a:gd name="connsiteY76" fmla="*/ 181868 h 739775"/>
                <a:gd name="connsiteX77" fmla="*/ 139239 w 379413"/>
                <a:gd name="connsiteY77" fmla="*/ 123825 h 739775"/>
                <a:gd name="connsiteX78" fmla="*/ 132263 w 379413"/>
                <a:gd name="connsiteY78" fmla="*/ 123825 h 739775"/>
                <a:gd name="connsiteX79" fmla="*/ 133198 w 379413"/>
                <a:gd name="connsiteY79" fmla="*/ 123634 h 739775"/>
                <a:gd name="connsiteX80" fmla="*/ 256306 w 379413"/>
                <a:gd name="connsiteY80" fmla="*/ 0 h 73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79413" h="739775">
                  <a:moveTo>
                    <a:pt x="115094" y="403225"/>
                  </a:moveTo>
                  <a:cubicBezTo>
                    <a:pt x="100627" y="403225"/>
                    <a:pt x="88900" y="415308"/>
                    <a:pt x="88900" y="430213"/>
                  </a:cubicBezTo>
                  <a:cubicBezTo>
                    <a:pt x="88900" y="445118"/>
                    <a:pt x="100627" y="457201"/>
                    <a:pt x="115094" y="457201"/>
                  </a:cubicBezTo>
                  <a:cubicBezTo>
                    <a:pt x="129561" y="457201"/>
                    <a:pt x="141288" y="445118"/>
                    <a:pt x="141288" y="430213"/>
                  </a:cubicBezTo>
                  <a:cubicBezTo>
                    <a:pt x="141288" y="415308"/>
                    <a:pt x="129561" y="403225"/>
                    <a:pt x="115094" y="403225"/>
                  </a:cubicBezTo>
                  <a:close/>
                  <a:moveTo>
                    <a:pt x="256306" y="0"/>
                  </a:moveTo>
                  <a:cubicBezTo>
                    <a:pt x="324250" y="0"/>
                    <a:pt x="379413" y="55399"/>
                    <a:pt x="379413" y="123634"/>
                  </a:cubicBezTo>
                  <a:lnTo>
                    <a:pt x="379413" y="414338"/>
                  </a:lnTo>
                  <a:lnTo>
                    <a:pt x="373460" y="414338"/>
                  </a:lnTo>
                  <a:cubicBezTo>
                    <a:pt x="373460" y="455191"/>
                    <a:pt x="339973" y="488678"/>
                    <a:pt x="298450" y="488678"/>
                  </a:cubicBezTo>
                  <a:cubicBezTo>
                    <a:pt x="267810" y="488678"/>
                    <a:pt x="241314" y="469842"/>
                    <a:pt x="229981" y="443189"/>
                  </a:cubicBezTo>
                  <a:lnTo>
                    <a:pt x="224253" y="415040"/>
                  </a:lnTo>
                  <a:lnTo>
                    <a:pt x="236803" y="409841"/>
                  </a:lnTo>
                  <a:cubicBezTo>
                    <a:pt x="241543" y="405101"/>
                    <a:pt x="244475" y="398553"/>
                    <a:pt x="244475" y="391319"/>
                  </a:cubicBezTo>
                  <a:cubicBezTo>
                    <a:pt x="244475" y="376852"/>
                    <a:pt x="232748" y="365125"/>
                    <a:pt x="218281" y="365125"/>
                  </a:cubicBezTo>
                  <a:cubicBezTo>
                    <a:pt x="203814" y="365125"/>
                    <a:pt x="192087" y="376852"/>
                    <a:pt x="192087" y="391319"/>
                  </a:cubicBezTo>
                  <a:cubicBezTo>
                    <a:pt x="192087" y="398553"/>
                    <a:pt x="195019" y="405101"/>
                    <a:pt x="199759" y="409841"/>
                  </a:cubicBezTo>
                  <a:lnTo>
                    <a:pt x="212919" y="415292"/>
                  </a:lnTo>
                  <a:lnTo>
                    <a:pt x="219527" y="447793"/>
                  </a:lnTo>
                  <a:cubicBezTo>
                    <a:pt x="232650" y="478590"/>
                    <a:pt x="263290" y="500063"/>
                    <a:pt x="298450" y="500063"/>
                  </a:cubicBezTo>
                  <a:cubicBezTo>
                    <a:pt x="334113" y="500063"/>
                    <a:pt x="364502" y="478590"/>
                    <a:pt x="377467" y="447793"/>
                  </a:cubicBezTo>
                  <a:lnTo>
                    <a:pt x="379413" y="438089"/>
                  </a:lnTo>
                  <a:lnTo>
                    <a:pt x="379413" y="635058"/>
                  </a:lnTo>
                  <a:cubicBezTo>
                    <a:pt x="379413" y="692484"/>
                    <a:pt x="332323" y="739775"/>
                    <a:pt x="275142" y="739775"/>
                  </a:cubicBezTo>
                  <a:cubicBezTo>
                    <a:pt x="231752" y="739775"/>
                    <a:pt x="194416" y="713174"/>
                    <a:pt x="178460" y="675647"/>
                  </a:cubicBezTo>
                  <a:lnTo>
                    <a:pt x="171156" y="639763"/>
                  </a:lnTo>
                  <a:lnTo>
                    <a:pt x="176553" y="639763"/>
                  </a:lnTo>
                  <a:cubicBezTo>
                    <a:pt x="191274" y="639763"/>
                    <a:pt x="225399" y="635701"/>
                    <a:pt x="250825" y="599818"/>
                  </a:cubicBezTo>
                  <a:lnTo>
                    <a:pt x="247526" y="597672"/>
                  </a:lnTo>
                  <a:lnTo>
                    <a:pt x="264319" y="604839"/>
                  </a:lnTo>
                  <a:cubicBezTo>
                    <a:pt x="278786" y="604839"/>
                    <a:pt x="290513" y="592756"/>
                    <a:pt x="290513" y="577851"/>
                  </a:cubicBezTo>
                  <a:cubicBezTo>
                    <a:pt x="290513" y="562946"/>
                    <a:pt x="278786" y="550863"/>
                    <a:pt x="264319" y="550863"/>
                  </a:cubicBezTo>
                  <a:cubicBezTo>
                    <a:pt x="249852" y="550863"/>
                    <a:pt x="238125" y="562946"/>
                    <a:pt x="238125" y="577851"/>
                  </a:cubicBezTo>
                  <a:lnTo>
                    <a:pt x="245586" y="596411"/>
                  </a:lnTo>
                  <a:lnTo>
                    <a:pt x="241458" y="593725"/>
                  </a:lnTo>
                  <a:cubicBezTo>
                    <a:pt x="213355" y="632993"/>
                    <a:pt x="173208" y="628931"/>
                    <a:pt x="171869" y="628254"/>
                  </a:cubicBezTo>
                  <a:lnTo>
                    <a:pt x="170459" y="636340"/>
                  </a:lnTo>
                  <a:lnTo>
                    <a:pt x="170198" y="635058"/>
                  </a:lnTo>
                  <a:cubicBezTo>
                    <a:pt x="170198" y="634383"/>
                    <a:pt x="170871" y="634383"/>
                    <a:pt x="170871" y="633707"/>
                  </a:cubicBezTo>
                  <a:cubicBezTo>
                    <a:pt x="167507" y="634383"/>
                    <a:pt x="164816" y="635058"/>
                    <a:pt x="162125" y="635058"/>
                  </a:cubicBezTo>
                  <a:cubicBezTo>
                    <a:pt x="104944" y="635058"/>
                    <a:pt x="57854" y="587767"/>
                    <a:pt x="57854" y="530341"/>
                  </a:cubicBezTo>
                  <a:cubicBezTo>
                    <a:pt x="57854" y="517505"/>
                    <a:pt x="60545" y="506020"/>
                    <a:pt x="64581" y="495210"/>
                  </a:cubicBezTo>
                  <a:lnTo>
                    <a:pt x="64474" y="495101"/>
                  </a:lnTo>
                  <a:lnTo>
                    <a:pt x="69128" y="496888"/>
                  </a:lnTo>
                  <a:cubicBezTo>
                    <a:pt x="69821" y="496223"/>
                    <a:pt x="78133" y="474277"/>
                    <a:pt x="96837" y="454991"/>
                  </a:cubicBezTo>
                  <a:lnTo>
                    <a:pt x="87832" y="447675"/>
                  </a:lnTo>
                  <a:cubicBezTo>
                    <a:pt x="78134" y="457983"/>
                    <a:pt x="70860" y="468956"/>
                    <a:pt x="66011" y="477519"/>
                  </a:cubicBezTo>
                  <a:lnTo>
                    <a:pt x="59905" y="490429"/>
                  </a:lnTo>
                  <a:lnTo>
                    <a:pt x="17911" y="447496"/>
                  </a:lnTo>
                  <a:cubicBezTo>
                    <a:pt x="6559" y="427989"/>
                    <a:pt x="0" y="405357"/>
                    <a:pt x="0" y="381035"/>
                  </a:cubicBezTo>
                  <a:cubicBezTo>
                    <a:pt x="0" y="358065"/>
                    <a:pt x="5718" y="336446"/>
                    <a:pt x="15809" y="317530"/>
                  </a:cubicBezTo>
                  <a:lnTo>
                    <a:pt x="54611" y="273886"/>
                  </a:lnTo>
                  <a:lnTo>
                    <a:pt x="62300" y="284347"/>
                  </a:lnTo>
                  <a:lnTo>
                    <a:pt x="87461" y="304155"/>
                  </a:lnTo>
                  <a:lnTo>
                    <a:pt x="84137" y="311944"/>
                  </a:lnTo>
                  <a:cubicBezTo>
                    <a:pt x="84137" y="326411"/>
                    <a:pt x="96220" y="338138"/>
                    <a:pt x="111125" y="338138"/>
                  </a:cubicBezTo>
                  <a:cubicBezTo>
                    <a:pt x="126030" y="338138"/>
                    <a:pt x="138113" y="326411"/>
                    <a:pt x="138113" y="311944"/>
                  </a:cubicBezTo>
                  <a:cubicBezTo>
                    <a:pt x="138113" y="297477"/>
                    <a:pt x="126030" y="285750"/>
                    <a:pt x="111125" y="285750"/>
                  </a:cubicBezTo>
                  <a:cubicBezTo>
                    <a:pt x="103673" y="285750"/>
                    <a:pt x="96926" y="288682"/>
                    <a:pt x="92042" y="293422"/>
                  </a:cubicBezTo>
                  <a:lnTo>
                    <a:pt x="91841" y="293893"/>
                  </a:lnTo>
                  <a:lnTo>
                    <a:pt x="70792" y="277247"/>
                  </a:lnTo>
                  <a:cubicBezTo>
                    <a:pt x="66083" y="272007"/>
                    <a:pt x="64065" y="268288"/>
                    <a:pt x="64065" y="268288"/>
                  </a:cubicBezTo>
                  <a:lnTo>
                    <a:pt x="56384" y="271891"/>
                  </a:lnTo>
                  <a:lnTo>
                    <a:pt x="57854" y="270238"/>
                  </a:lnTo>
                  <a:cubicBezTo>
                    <a:pt x="47090" y="255375"/>
                    <a:pt x="41036" y="237133"/>
                    <a:pt x="41036" y="216866"/>
                  </a:cubicBezTo>
                  <a:cubicBezTo>
                    <a:pt x="41036" y="178357"/>
                    <a:pt x="64119" y="145169"/>
                    <a:pt x="97229" y="130981"/>
                  </a:cubicBezTo>
                  <a:lnTo>
                    <a:pt x="128645" y="124564"/>
                  </a:lnTo>
                  <a:lnTo>
                    <a:pt x="129534" y="135867"/>
                  </a:lnTo>
                  <a:cubicBezTo>
                    <a:pt x="131427" y="150140"/>
                    <a:pt x="137106" y="174013"/>
                    <a:pt x="154145" y="190146"/>
                  </a:cubicBezTo>
                  <a:lnTo>
                    <a:pt x="186213" y="205005"/>
                  </a:lnTo>
                  <a:lnTo>
                    <a:pt x="192055" y="219110"/>
                  </a:lnTo>
                  <a:cubicBezTo>
                    <a:pt x="196939" y="223993"/>
                    <a:pt x="203686" y="227014"/>
                    <a:pt x="211138" y="227014"/>
                  </a:cubicBezTo>
                  <a:cubicBezTo>
                    <a:pt x="226043" y="227014"/>
                    <a:pt x="238126" y="214931"/>
                    <a:pt x="238126" y="200026"/>
                  </a:cubicBezTo>
                  <a:cubicBezTo>
                    <a:pt x="238126" y="185121"/>
                    <a:pt x="226043" y="173038"/>
                    <a:pt x="211138" y="173038"/>
                  </a:cubicBezTo>
                  <a:cubicBezTo>
                    <a:pt x="203686" y="173038"/>
                    <a:pt x="196939" y="176059"/>
                    <a:pt x="192055" y="180943"/>
                  </a:cubicBezTo>
                  <a:lnTo>
                    <a:pt x="186732" y="193793"/>
                  </a:lnTo>
                  <a:lnTo>
                    <a:pt x="161146" y="181868"/>
                  </a:lnTo>
                  <a:cubicBezTo>
                    <a:pt x="139613" y="161379"/>
                    <a:pt x="139239" y="125855"/>
                    <a:pt x="139239" y="123825"/>
                  </a:cubicBezTo>
                  <a:lnTo>
                    <a:pt x="132263" y="123825"/>
                  </a:lnTo>
                  <a:lnTo>
                    <a:pt x="133198" y="123634"/>
                  </a:lnTo>
                  <a:cubicBezTo>
                    <a:pt x="133198" y="55399"/>
                    <a:pt x="188361" y="0"/>
                    <a:pt x="25630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: Shape 662">
              <a:extLst>
                <a:ext uri="{FF2B5EF4-FFF2-40B4-BE49-F238E27FC236}">
                  <a16:creationId xmlns:a16="http://schemas.microsoft.com/office/drawing/2014/main" id="{9EC83276-500A-4CE8-ABBF-40DB2B01F20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2724150" y="3028950"/>
              <a:ext cx="379413" cy="739775"/>
            </a:xfrm>
            <a:custGeom>
              <a:avLst/>
              <a:gdLst>
                <a:gd name="connsiteX0" fmla="*/ 115094 w 379413"/>
                <a:gd name="connsiteY0" fmla="*/ 403225 h 739775"/>
                <a:gd name="connsiteX1" fmla="*/ 88900 w 379413"/>
                <a:gd name="connsiteY1" fmla="*/ 430213 h 739775"/>
                <a:gd name="connsiteX2" fmla="*/ 115094 w 379413"/>
                <a:gd name="connsiteY2" fmla="*/ 457201 h 739775"/>
                <a:gd name="connsiteX3" fmla="*/ 141288 w 379413"/>
                <a:gd name="connsiteY3" fmla="*/ 430213 h 739775"/>
                <a:gd name="connsiteX4" fmla="*/ 115094 w 379413"/>
                <a:gd name="connsiteY4" fmla="*/ 403225 h 739775"/>
                <a:gd name="connsiteX5" fmla="*/ 256306 w 379413"/>
                <a:gd name="connsiteY5" fmla="*/ 0 h 739775"/>
                <a:gd name="connsiteX6" fmla="*/ 379413 w 379413"/>
                <a:gd name="connsiteY6" fmla="*/ 123634 h 739775"/>
                <a:gd name="connsiteX7" fmla="*/ 379413 w 379413"/>
                <a:gd name="connsiteY7" fmla="*/ 414338 h 739775"/>
                <a:gd name="connsiteX8" fmla="*/ 373460 w 379413"/>
                <a:gd name="connsiteY8" fmla="*/ 414338 h 739775"/>
                <a:gd name="connsiteX9" fmla="*/ 298450 w 379413"/>
                <a:gd name="connsiteY9" fmla="*/ 488678 h 739775"/>
                <a:gd name="connsiteX10" fmla="*/ 229981 w 379413"/>
                <a:gd name="connsiteY10" fmla="*/ 443189 h 739775"/>
                <a:gd name="connsiteX11" fmla="*/ 224253 w 379413"/>
                <a:gd name="connsiteY11" fmla="*/ 415040 h 739775"/>
                <a:gd name="connsiteX12" fmla="*/ 236803 w 379413"/>
                <a:gd name="connsiteY12" fmla="*/ 409841 h 739775"/>
                <a:gd name="connsiteX13" fmla="*/ 244475 w 379413"/>
                <a:gd name="connsiteY13" fmla="*/ 391319 h 739775"/>
                <a:gd name="connsiteX14" fmla="*/ 218281 w 379413"/>
                <a:gd name="connsiteY14" fmla="*/ 365125 h 739775"/>
                <a:gd name="connsiteX15" fmla="*/ 192087 w 379413"/>
                <a:gd name="connsiteY15" fmla="*/ 391319 h 739775"/>
                <a:gd name="connsiteX16" fmla="*/ 199759 w 379413"/>
                <a:gd name="connsiteY16" fmla="*/ 409841 h 739775"/>
                <a:gd name="connsiteX17" fmla="*/ 212919 w 379413"/>
                <a:gd name="connsiteY17" fmla="*/ 415292 h 739775"/>
                <a:gd name="connsiteX18" fmla="*/ 219527 w 379413"/>
                <a:gd name="connsiteY18" fmla="*/ 447793 h 739775"/>
                <a:gd name="connsiteX19" fmla="*/ 298450 w 379413"/>
                <a:gd name="connsiteY19" fmla="*/ 500063 h 739775"/>
                <a:gd name="connsiteX20" fmla="*/ 377467 w 379413"/>
                <a:gd name="connsiteY20" fmla="*/ 447793 h 739775"/>
                <a:gd name="connsiteX21" fmla="*/ 379413 w 379413"/>
                <a:gd name="connsiteY21" fmla="*/ 438089 h 739775"/>
                <a:gd name="connsiteX22" fmla="*/ 379413 w 379413"/>
                <a:gd name="connsiteY22" fmla="*/ 635058 h 739775"/>
                <a:gd name="connsiteX23" fmla="*/ 275142 w 379413"/>
                <a:gd name="connsiteY23" fmla="*/ 739775 h 739775"/>
                <a:gd name="connsiteX24" fmla="*/ 178460 w 379413"/>
                <a:gd name="connsiteY24" fmla="*/ 675647 h 739775"/>
                <a:gd name="connsiteX25" fmla="*/ 171156 w 379413"/>
                <a:gd name="connsiteY25" fmla="*/ 639763 h 739775"/>
                <a:gd name="connsiteX26" fmla="*/ 176553 w 379413"/>
                <a:gd name="connsiteY26" fmla="*/ 639763 h 739775"/>
                <a:gd name="connsiteX27" fmla="*/ 250825 w 379413"/>
                <a:gd name="connsiteY27" fmla="*/ 599818 h 739775"/>
                <a:gd name="connsiteX28" fmla="*/ 247526 w 379413"/>
                <a:gd name="connsiteY28" fmla="*/ 597672 h 739775"/>
                <a:gd name="connsiteX29" fmla="*/ 264319 w 379413"/>
                <a:gd name="connsiteY29" fmla="*/ 604839 h 739775"/>
                <a:gd name="connsiteX30" fmla="*/ 290513 w 379413"/>
                <a:gd name="connsiteY30" fmla="*/ 577851 h 739775"/>
                <a:gd name="connsiteX31" fmla="*/ 264319 w 379413"/>
                <a:gd name="connsiteY31" fmla="*/ 550863 h 739775"/>
                <a:gd name="connsiteX32" fmla="*/ 238125 w 379413"/>
                <a:gd name="connsiteY32" fmla="*/ 577851 h 739775"/>
                <a:gd name="connsiteX33" fmla="*/ 245586 w 379413"/>
                <a:gd name="connsiteY33" fmla="*/ 596411 h 739775"/>
                <a:gd name="connsiteX34" fmla="*/ 241458 w 379413"/>
                <a:gd name="connsiteY34" fmla="*/ 593725 h 739775"/>
                <a:gd name="connsiteX35" fmla="*/ 171869 w 379413"/>
                <a:gd name="connsiteY35" fmla="*/ 628254 h 739775"/>
                <a:gd name="connsiteX36" fmla="*/ 170459 w 379413"/>
                <a:gd name="connsiteY36" fmla="*/ 636340 h 739775"/>
                <a:gd name="connsiteX37" fmla="*/ 170198 w 379413"/>
                <a:gd name="connsiteY37" fmla="*/ 635058 h 739775"/>
                <a:gd name="connsiteX38" fmla="*/ 170871 w 379413"/>
                <a:gd name="connsiteY38" fmla="*/ 633707 h 739775"/>
                <a:gd name="connsiteX39" fmla="*/ 162125 w 379413"/>
                <a:gd name="connsiteY39" fmla="*/ 635058 h 739775"/>
                <a:gd name="connsiteX40" fmla="*/ 57854 w 379413"/>
                <a:gd name="connsiteY40" fmla="*/ 530341 h 739775"/>
                <a:gd name="connsiteX41" fmla="*/ 64581 w 379413"/>
                <a:gd name="connsiteY41" fmla="*/ 495210 h 739775"/>
                <a:gd name="connsiteX42" fmla="*/ 64474 w 379413"/>
                <a:gd name="connsiteY42" fmla="*/ 495101 h 739775"/>
                <a:gd name="connsiteX43" fmla="*/ 69128 w 379413"/>
                <a:gd name="connsiteY43" fmla="*/ 496888 h 739775"/>
                <a:gd name="connsiteX44" fmla="*/ 96837 w 379413"/>
                <a:gd name="connsiteY44" fmla="*/ 454991 h 739775"/>
                <a:gd name="connsiteX45" fmla="*/ 87832 w 379413"/>
                <a:gd name="connsiteY45" fmla="*/ 447675 h 739775"/>
                <a:gd name="connsiteX46" fmla="*/ 66011 w 379413"/>
                <a:gd name="connsiteY46" fmla="*/ 477519 h 739775"/>
                <a:gd name="connsiteX47" fmla="*/ 59905 w 379413"/>
                <a:gd name="connsiteY47" fmla="*/ 490429 h 739775"/>
                <a:gd name="connsiteX48" fmla="*/ 17911 w 379413"/>
                <a:gd name="connsiteY48" fmla="*/ 447496 h 739775"/>
                <a:gd name="connsiteX49" fmla="*/ 0 w 379413"/>
                <a:gd name="connsiteY49" fmla="*/ 381035 h 739775"/>
                <a:gd name="connsiteX50" fmla="*/ 15809 w 379413"/>
                <a:gd name="connsiteY50" fmla="*/ 317530 h 739775"/>
                <a:gd name="connsiteX51" fmla="*/ 54611 w 379413"/>
                <a:gd name="connsiteY51" fmla="*/ 273886 h 739775"/>
                <a:gd name="connsiteX52" fmla="*/ 62300 w 379413"/>
                <a:gd name="connsiteY52" fmla="*/ 284347 h 739775"/>
                <a:gd name="connsiteX53" fmla="*/ 87461 w 379413"/>
                <a:gd name="connsiteY53" fmla="*/ 304155 h 739775"/>
                <a:gd name="connsiteX54" fmla="*/ 84137 w 379413"/>
                <a:gd name="connsiteY54" fmla="*/ 311944 h 739775"/>
                <a:gd name="connsiteX55" fmla="*/ 111125 w 379413"/>
                <a:gd name="connsiteY55" fmla="*/ 338138 h 739775"/>
                <a:gd name="connsiteX56" fmla="*/ 138113 w 379413"/>
                <a:gd name="connsiteY56" fmla="*/ 311944 h 739775"/>
                <a:gd name="connsiteX57" fmla="*/ 111125 w 379413"/>
                <a:gd name="connsiteY57" fmla="*/ 285750 h 739775"/>
                <a:gd name="connsiteX58" fmla="*/ 92042 w 379413"/>
                <a:gd name="connsiteY58" fmla="*/ 293422 h 739775"/>
                <a:gd name="connsiteX59" fmla="*/ 91841 w 379413"/>
                <a:gd name="connsiteY59" fmla="*/ 293893 h 739775"/>
                <a:gd name="connsiteX60" fmla="*/ 70792 w 379413"/>
                <a:gd name="connsiteY60" fmla="*/ 277247 h 739775"/>
                <a:gd name="connsiteX61" fmla="*/ 64065 w 379413"/>
                <a:gd name="connsiteY61" fmla="*/ 268288 h 739775"/>
                <a:gd name="connsiteX62" fmla="*/ 56384 w 379413"/>
                <a:gd name="connsiteY62" fmla="*/ 271891 h 739775"/>
                <a:gd name="connsiteX63" fmla="*/ 57854 w 379413"/>
                <a:gd name="connsiteY63" fmla="*/ 270238 h 739775"/>
                <a:gd name="connsiteX64" fmla="*/ 41036 w 379413"/>
                <a:gd name="connsiteY64" fmla="*/ 216866 h 739775"/>
                <a:gd name="connsiteX65" fmla="*/ 97229 w 379413"/>
                <a:gd name="connsiteY65" fmla="*/ 130981 h 739775"/>
                <a:gd name="connsiteX66" fmla="*/ 128645 w 379413"/>
                <a:gd name="connsiteY66" fmla="*/ 124564 h 739775"/>
                <a:gd name="connsiteX67" fmla="*/ 129534 w 379413"/>
                <a:gd name="connsiteY67" fmla="*/ 135867 h 739775"/>
                <a:gd name="connsiteX68" fmla="*/ 154145 w 379413"/>
                <a:gd name="connsiteY68" fmla="*/ 190146 h 739775"/>
                <a:gd name="connsiteX69" fmla="*/ 186213 w 379413"/>
                <a:gd name="connsiteY69" fmla="*/ 205005 h 739775"/>
                <a:gd name="connsiteX70" fmla="*/ 192055 w 379413"/>
                <a:gd name="connsiteY70" fmla="*/ 219110 h 739775"/>
                <a:gd name="connsiteX71" fmla="*/ 211138 w 379413"/>
                <a:gd name="connsiteY71" fmla="*/ 227014 h 739775"/>
                <a:gd name="connsiteX72" fmla="*/ 238126 w 379413"/>
                <a:gd name="connsiteY72" fmla="*/ 200026 h 739775"/>
                <a:gd name="connsiteX73" fmla="*/ 211138 w 379413"/>
                <a:gd name="connsiteY73" fmla="*/ 173038 h 739775"/>
                <a:gd name="connsiteX74" fmla="*/ 192055 w 379413"/>
                <a:gd name="connsiteY74" fmla="*/ 180943 h 739775"/>
                <a:gd name="connsiteX75" fmla="*/ 186732 w 379413"/>
                <a:gd name="connsiteY75" fmla="*/ 193793 h 739775"/>
                <a:gd name="connsiteX76" fmla="*/ 161146 w 379413"/>
                <a:gd name="connsiteY76" fmla="*/ 181868 h 739775"/>
                <a:gd name="connsiteX77" fmla="*/ 139239 w 379413"/>
                <a:gd name="connsiteY77" fmla="*/ 123825 h 739775"/>
                <a:gd name="connsiteX78" fmla="*/ 132263 w 379413"/>
                <a:gd name="connsiteY78" fmla="*/ 123825 h 739775"/>
                <a:gd name="connsiteX79" fmla="*/ 133198 w 379413"/>
                <a:gd name="connsiteY79" fmla="*/ 123634 h 739775"/>
                <a:gd name="connsiteX80" fmla="*/ 256306 w 379413"/>
                <a:gd name="connsiteY80" fmla="*/ 0 h 73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79413" h="739775">
                  <a:moveTo>
                    <a:pt x="115094" y="403225"/>
                  </a:moveTo>
                  <a:cubicBezTo>
                    <a:pt x="100627" y="403225"/>
                    <a:pt x="88900" y="415308"/>
                    <a:pt x="88900" y="430213"/>
                  </a:cubicBezTo>
                  <a:cubicBezTo>
                    <a:pt x="88900" y="445118"/>
                    <a:pt x="100627" y="457201"/>
                    <a:pt x="115094" y="457201"/>
                  </a:cubicBezTo>
                  <a:cubicBezTo>
                    <a:pt x="129561" y="457201"/>
                    <a:pt x="141288" y="445118"/>
                    <a:pt x="141288" y="430213"/>
                  </a:cubicBezTo>
                  <a:cubicBezTo>
                    <a:pt x="141288" y="415308"/>
                    <a:pt x="129561" y="403225"/>
                    <a:pt x="115094" y="403225"/>
                  </a:cubicBezTo>
                  <a:close/>
                  <a:moveTo>
                    <a:pt x="256306" y="0"/>
                  </a:moveTo>
                  <a:cubicBezTo>
                    <a:pt x="324250" y="0"/>
                    <a:pt x="379413" y="55399"/>
                    <a:pt x="379413" y="123634"/>
                  </a:cubicBezTo>
                  <a:lnTo>
                    <a:pt x="379413" y="414338"/>
                  </a:lnTo>
                  <a:lnTo>
                    <a:pt x="373460" y="414338"/>
                  </a:lnTo>
                  <a:cubicBezTo>
                    <a:pt x="373460" y="455191"/>
                    <a:pt x="339973" y="488678"/>
                    <a:pt x="298450" y="488678"/>
                  </a:cubicBezTo>
                  <a:cubicBezTo>
                    <a:pt x="267810" y="488678"/>
                    <a:pt x="241314" y="469842"/>
                    <a:pt x="229981" y="443189"/>
                  </a:cubicBezTo>
                  <a:lnTo>
                    <a:pt x="224253" y="415040"/>
                  </a:lnTo>
                  <a:lnTo>
                    <a:pt x="236803" y="409841"/>
                  </a:lnTo>
                  <a:cubicBezTo>
                    <a:pt x="241543" y="405101"/>
                    <a:pt x="244475" y="398553"/>
                    <a:pt x="244475" y="391319"/>
                  </a:cubicBezTo>
                  <a:cubicBezTo>
                    <a:pt x="244475" y="376852"/>
                    <a:pt x="232748" y="365125"/>
                    <a:pt x="218281" y="365125"/>
                  </a:cubicBezTo>
                  <a:cubicBezTo>
                    <a:pt x="203814" y="365125"/>
                    <a:pt x="192087" y="376852"/>
                    <a:pt x="192087" y="391319"/>
                  </a:cubicBezTo>
                  <a:cubicBezTo>
                    <a:pt x="192087" y="398553"/>
                    <a:pt x="195019" y="405101"/>
                    <a:pt x="199759" y="409841"/>
                  </a:cubicBezTo>
                  <a:lnTo>
                    <a:pt x="212919" y="415292"/>
                  </a:lnTo>
                  <a:lnTo>
                    <a:pt x="219527" y="447793"/>
                  </a:lnTo>
                  <a:cubicBezTo>
                    <a:pt x="232650" y="478590"/>
                    <a:pt x="263290" y="500063"/>
                    <a:pt x="298450" y="500063"/>
                  </a:cubicBezTo>
                  <a:cubicBezTo>
                    <a:pt x="334113" y="500063"/>
                    <a:pt x="364502" y="478590"/>
                    <a:pt x="377467" y="447793"/>
                  </a:cubicBezTo>
                  <a:lnTo>
                    <a:pt x="379413" y="438089"/>
                  </a:lnTo>
                  <a:lnTo>
                    <a:pt x="379413" y="635058"/>
                  </a:lnTo>
                  <a:cubicBezTo>
                    <a:pt x="379413" y="692484"/>
                    <a:pt x="332323" y="739775"/>
                    <a:pt x="275142" y="739775"/>
                  </a:cubicBezTo>
                  <a:cubicBezTo>
                    <a:pt x="231752" y="739775"/>
                    <a:pt x="194416" y="713174"/>
                    <a:pt x="178460" y="675647"/>
                  </a:cubicBezTo>
                  <a:lnTo>
                    <a:pt x="171156" y="639763"/>
                  </a:lnTo>
                  <a:lnTo>
                    <a:pt x="176553" y="639763"/>
                  </a:lnTo>
                  <a:cubicBezTo>
                    <a:pt x="191274" y="639763"/>
                    <a:pt x="225399" y="635701"/>
                    <a:pt x="250825" y="599818"/>
                  </a:cubicBezTo>
                  <a:lnTo>
                    <a:pt x="247526" y="597672"/>
                  </a:lnTo>
                  <a:lnTo>
                    <a:pt x="264319" y="604839"/>
                  </a:lnTo>
                  <a:cubicBezTo>
                    <a:pt x="278786" y="604839"/>
                    <a:pt x="290513" y="592756"/>
                    <a:pt x="290513" y="577851"/>
                  </a:cubicBezTo>
                  <a:cubicBezTo>
                    <a:pt x="290513" y="562946"/>
                    <a:pt x="278786" y="550863"/>
                    <a:pt x="264319" y="550863"/>
                  </a:cubicBezTo>
                  <a:cubicBezTo>
                    <a:pt x="249852" y="550863"/>
                    <a:pt x="238125" y="562946"/>
                    <a:pt x="238125" y="577851"/>
                  </a:cubicBezTo>
                  <a:lnTo>
                    <a:pt x="245586" y="596411"/>
                  </a:lnTo>
                  <a:lnTo>
                    <a:pt x="241458" y="593725"/>
                  </a:lnTo>
                  <a:cubicBezTo>
                    <a:pt x="213355" y="632993"/>
                    <a:pt x="173208" y="628931"/>
                    <a:pt x="171869" y="628254"/>
                  </a:cubicBezTo>
                  <a:lnTo>
                    <a:pt x="170459" y="636340"/>
                  </a:lnTo>
                  <a:lnTo>
                    <a:pt x="170198" y="635058"/>
                  </a:lnTo>
                  <a:cubicBezTo>
                    <a:pt x="170198" y="634383"/>
                    <a:pt x="170871" y="634383"/>
                    <a:pt x="170871" y="633707"/>
                  </a:cubicBezTo>
                  <a:cubicBezTo>
                    <a:pt x="167507" y="634383"/>
                    <a:pt x="164816" y="635058"/>
                    <a:pt x="162125" y="635058"/>
                  </a:cubicBezTo>
                  <a:cubicBezTo>
                    <a:pt x="104944" y="635058"/>
                    <a:pt x="57854" y="587767"/>
                    <a:pt x="57854" y="530341"/>
                  </a:cubicBezTo>
                  <a:cubicBezTo>
                    <a:pt x="57854" y="517505"/>
                    <a:pt x="60545" y="506020"/>
                    <a:pt x="64581" y="495210"/>
                  </a:cubicBezTo>
                  <a:lnTo>
                    <a:pt x="64474" y="495101"/>
                  </a:lnTo>
                  <a:lnTo>
                    <a:pt x="69128" y="496888"/>
                  </a:lnTo>
                  <a:cubicBezTo>
                    <a:pt x="69821" y="496223"/>
                    <a:pt x="78133" y="474277"/>
                    <a:pt x="96837" y="454991"/>
                  </a:cubicBezTo>
                  <a:lnTo>
                    <a:pt x="87832" y="447675"/>
                  </a:lnTo>
                  <a:cubicBezTo>
                    <a:pt x="78134" y="457983"/>
                    <a:pt x="70860" y="468956"/>
                    <a:pt x="66011" y="477519"/>
                  </a:cubicBezTo>
                  <a:lnTo>
                    <a:pt x="59905" y="490429"/>
                  </a:lnTo>
                  <a:lnTo>
                    <a:pt x="17911" y="447496"/>
                  </a:lnTo>
                  <a:cubicBezTo>
                    <a:pt x="6559" y="427989"/>
                    <a:pt x="0" y="405357"/>
                    <a:pt x="0" y="381035"/>
                  </a:cubicBezTo>
                  <a:cubicBezTo>
                    <a:pt x="0" y="358065"/>
                    <a:pt x="5718" y="336446"/>
                    <a:pt x="15809" y="317530"/>
                  </a:cubicBezTo>
                  <a:lnTo>
                    <a:pt x="54611" y="273886"/>
                  </a:lnTo>
                  <a:lnTo>
                    <a:pt x="62300" y="284347"/>
                  </a:lnTo>
                  <a:lnTo>
                    <a:pt x="87461" y="304155"/>
                  </a:lnTo>
                  <a:lnTo>
                    <a:pt x="84137" y="311944"/>
                  </a:lnTo>
                  <a:cubicBezTo>
                    <a:pt x="84137" y="326411"/>
                    <a:pt x="96220" y="338138"/>
                    <a:pt x="111125" y="338138"/>
                  </a:cubicBezTo>
                  <a:cubicBezTo>
                    <a:pt x="126030" y="338138"/>
                    <a:pt x="138113" y="326411"/>
                    <a:pt x="138113" y="311944"/>
                  </a:cubicBezTo>
                  <a:cubicBezTo>
                    <a:pt x="138113" y="297477"/>
                    <a:pt x="126030" y="285750"/>
                    <a:pt x="111125" y="285750"/>
                  </a:cubicBezTo>
                  <a:cubicBezTo>
                    <a:pt x="103673" y="285750"/>
                    <a:pt x="96926" y="288682"/>
                    <a:pt x="92042" y="293422"/>
                  </a:cubicBezTo>
                  <a:lnTo>
                    <a:pt x="91841" y="293893"/>
                  </a:lnTo>
                  <a:lnTo>
                    <a:pt x="70792" y="277247"/>
                  </a:lnTo>
                  <a:cubicBezTo>
                    <a:pt x="66083" y="272007"/>
                    <a:pt x="64065" y="268288"/>
                    <a:pt x="64065" y="268288"/>
                  </a:cubicBezTo>
                  <a:lnTo>
                    <a:pt x="56384" y="271891"/>
                  </a:lnTo>
                  <a:lnTo>
                    <a:pt x="57854" y="270238"/>
                  </a:lnTo>
                  <a:cubicBezTo>
                    <a:pt x="47090" y="255375"/>
                    <a:pt x="41036" y="237133"/>
                    <a:pt x="41036" y="216866"/>
                  </a:cubicBezTo>
                  <a:cubicBezTo>
                    <a:pt x="41036" y="178357"/>
                    <a:pt x="64119" y="145169"/>
                    <a:pt x="97229" y="130981"/>
                  </a:cubicBezTo>
                  <a:lnTo>
                    <a:pt x="128645" y="124564"/>
                  </a:lnTo>
                  <a:lnTo>
                    <a:pt x="129534" y="135867"/>
                  </a:lnTo>
                  <a:cubicBezTo>
                    <a:pt x="131427" y="150140"/>
                    <a:pt x="137106" y="174013"/>
                    <a:pt x="154145" y="190146"/>
                  </a:cubicBezTo>
                  <a:lnTo>
                    <a:pt x="186213" y="205005"/>
                  </a:lnTo>
                  <a:lnTo>
                    <a:pt x="192055" y="219110"/>
                  </a:lnTo>
                  <a:cubicBezTo>
                    <a:pt x="196939" y="223993"/>
                    <a:pt x="203686" y="227014"/>
                    <a:pt x="211138" y="227014"/>
                  </a:cubicBezTo>
                  <a:cubicBezTo>
                    <a:pt x="226043" y="227014"/>
                    <a:pt x="238126" y="214931"/>
                    <a:pt x="238126" y="200026"/>
                  </a:cubicBezTo>
                  <a:cubicBezTo>
                    <a:pt x="238126" y="185121"/>
                    <a:pt x="226043" y="173038"/>
                    <a:pt x="211138" y="173038"/>
                  </a:cubicBezTo>
                  <a:cubicBezTo>
                    <a:pt x="203686" y="173038"/>
                    <a:pt x="196939" y="176059"/>
                    <a:pt x="192055" y="180943"/>
                  </a:cubicBezTo>
                  <a:lnTo>
                    <a:pt x="186732" y="193793"/>
                  </a:lnTo>
                  <a:lnTo>
                    <a:pt x="161146" y="181868"/>
                  </a:lnTo>
                  <a:cubicBezTo>
                    <a:pt x="139613" y="161379"/>
                    <a:pt x="139239" y="125855"/>
                    <a:pt x="139239" y="123825"/>
                  </a:cubicBezTo>
                  <a:lnTo>
                    <a:pt x="132263" y="123825"/>
                  </a:lnTo>
                  <a:lnTo>
                    <a:pt x="133198" y="123634"/>
                  </a:lnTo>
                  <a:cubicBezTo>
                    <a:pt x="133198" y="55399"/>
                    <a:pt x="188361" y="0"/>
                    <a:pt x="25630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9" name="Big_data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7677150" y="2262187"/>
            <a:ext cx="641127" cy="542925"/>
            <a:chOff x="2879725" y="4430713"/>
            <a:chExt cx="901701" cy="763587"/>
          </a:xfrm>
          <a:solidFill>
            <a:schemeClr val="bg2"/>
          </a:solidFill>
        </p:grpSpPr>
        <p:sp>
          <p:nvSpPr>
            <p:cNvPr id="130" name="Freeform 192"/>
            <p:cNvSpPr>
              <a:spLocks/>
            </p:cNvSpPr>
            <p:nvPr/>
          </p:nvSpPr>
          <p:spPr bwMode="auto">
            <a:xfrm>
              <a:off x="3532188" y="4525963"/>
              <a:ext cx="79375" cy="136525"/>
            </a:xfrm>
            <a:custGeom>
              <a:avLst/>
              <a:gdLst>
                <a:gd name="T0" fmla="*/ 79 w 113"/>
                <a:gd name="T1" fmla="*/ 192 h 192"/>
                <a:gd name="T2" fmla="*/ 79 w 113"/>
                <a:gd name="T3" fmla="*/ 108 h 192"/>
                <a:gd name="T4" fmla="*/ 113 w 113"/>
                <a:gd name="T5" fmla="*/ 57 h 192"/>
                <a:gd name="T6" fmla="*/ 57 w 113"/>
                <a:gd name="T7" fmla="*/ 0 h 192"/>
                <a:gd name="T8" fmla="*/ 0 w 113"/>
                <a:gd name="T9" fmla="*/ 57 h 192"/>
                <a:gd name="T10" fmla="*/ 34 w 113"/>
                <a:gd name="T11" fmla="*/ 108 h 192"/>
                <a:gd name="T12" fmla="*/ 34 w 113"/>
                <a:gd name="T13" fmla="*/ 169 h 192"/>
                <a:gd name="T14" fmla="*/ 79 w 113"/>
                <a:gd name="T15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3" h="192">
                  <a:moveTo>
                    <a:pt x="79" y="192"/>
                  </a:moveTo>
                  <a:lnTo>
                    <a:pt x="79" y="108"/>
                  </a:lnTo>
                  <a:cubicBezTo>
                    <a:pt x="100" y="100"/>
                    <a:pt x="113" y="79"/>
                    <a:pt x="113" y="57"/>
                  </a:cubicBezTo>
                  <a:cubicBezTo>
                    <a:pt x="113" y="26"/>
                    <a:pt x="88" y="0"/>
                    <a:pt x="57" y="0"/>
                  </a:cubicBezTo>
                  <a:cubicBezTo>
                    <a:pt x="26" y="0"/>
                    <a:pt x="0" y="26"/>
                    <a:pt x="0" y="57"/>
                  </a:cubicBezTo>
                  <a:cubicBezTo>
                    <a:pt x="0" y="79"/>
                    <a:pt x="14" y="100"/>
                    <a:pt x="34" y="108"/>
                  </a:cubicBezTo>
                  <a:lnTo>
                    <a:pt x="34" y="169"/>
                  </a:lnTo>
                  <a:cubicBezTo>
                    <a:pt x="51" y="176"/>
                    <a:pt x="66" y="184"/>
                    <a:pt x="79" y="19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193"/>
            <p:cNvSpPr>
              <a:spLocks noEditPoints="1"/>
            </p:cNvSpPr>
            <p:nvPr/>
          </p:nvSpPr>
          <p:spPr bwMode="auto">
            <a:xfrm>
              <a:off x="3235325" y="4430713"/>
              <a:ext cx="517525" cy="319088"/>
            </a:xfrm>
            <a:custGeom>
              <a:avLst/>
              <a:gdLst>
                <a:gd name="T0" fmla="*/ 655 w 728"/>
                <a:gd name="T1" fmla="*/ 407 h 449"/>
                <a:gd name="T2" fmla="*/ 624 w 728"/>
                <a:gd name="T3" fmla="*/ 376 h 449"/>
                <a:gd name="T4" fmla="*/ 655 w 728"/>
                <a:gd name="T5" fmla="*/ 345 h 449"/>
                <a:gd name="T6" fmla="*/ 685 w 728"/>
                <a:gd name="T7" fmla="*/ 376 h 449"/>
                <a:gd name="T8" fmla="*/ 655 w 728"/>
                <a:gd name="T9" fmla="*/ 407 h 449"/>
                <a:gd name="T10" fmla="*/ 74 w 728"/>
                <a:gd name="T11" fmla="*/ 42 h 449"/>
                <a:gd name="T12" fmla="*/ 105 w 728"/>
                <a:gd name="T13" fmla="*/ 73 h 449"/>
                <a:gd name="T14" fmla="*/ 74 w 728"/>
                <a:gd name="T15" fmla="*/ 104 h 449"/>
                <a:gd name="T16" fmla="*/ 43 w 728"/>
                <a:gd name="T17" fmla="*/ 73 h 449"/>
                <a:gd name="T18" fmla="*/ 74 w 728"/>
                <a:gd name="T19" fmla="*/ 42 h 449"/>
                <a:gd name="T20" fmla="*/ 74 w 728"/>
                <a:gd name="T21" fmla="*/ 147 h 449"/>
                <a:gd name="T22" fmla="*/ 143 w 728"/>
                <a:gd name="T23" fmla="*/ 98 h 449"/>
                <a:gd name="T24" fmla="*/ 632 w 728"/>
                <a:gd name="T25" fmla="*/ 98 h 449"/>
                <a:gd name="T26" fmla="*/ 632 w 728"/>
                <a:gd name="T27" fmla="*/ 306 h 449"/>
                <a:gd name="T28" fmla="*/ 581 w 728"/>
                <a:gd name="T29" fmla="*/ 376 h 449"/>
                <a:gd name="T30" fmla="*/ 655 w 728"/>
                <a:gd name="T31" fmla="*/ 449 h 449"/>
                <a:gd name="T32" fmla="*/ 728 w 728"/>
                <a:gd name="T33" fmla="*/ 376 h 449"/>
                <a:gd name="T34" fmla="*/ 677 w 728"/>
                <a:gd name="T35" fmla="*/ 306 h 449"/>
                <a:gd name="T36" fmla="*/ 677 w 728"/>
                <a:gd name="T37" fmla="*/ 75 h 449"/>
                <a:gd name="T38" fmla="*/ 655 w 728"/>
                <a:gd name="T39" fmla="*/ 53 h 449"/>
                <a:gd name="T40" fmla="*/ 145 w 728"/>
                <a:gd name="T41" fmla="*/ 53 h 449"/>
                <a:gd name="T42" fmla="*/ 74 w 728"/>
                <a:gd name="T43" fmla="*/ 0 h 449"/>
                <a:gd name="T44" fmla="*/ 0 w 728"/>
                <a:gd name="T45" fmla="*/ 73 h 449"/>
                <a:gd name="T46" fmla="*/ 74 w 728"/>
                <a:gd name="T47" fmla="*/ 147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8" h="449">
                  <a:moveTo>
                    <a:pt x="655" y="407"/>
                  </a:moveTo>
                  <a:cubicBezTo>
                    <a:pt x="637" y="407"/>
                    <a:pt x="624" y="393"/>
                    <a:pt x="624" y="376"/>
                  </a:cubicBezTo>
                  <a:cubicBezTo>
                    <a:pt x="624" y="359"/>
                    <a:pt x="637" y="345"/>
                    <a:pt x="655" y="345"/>
                  </a:cubicBezTo>
                  <a:cubicBezTo>
                    <a:pt x="672" y="345"/>
                    <a:pt x="685" y="359"/>
                    <a:pt x="685" y="376"/>
                  </a:cubicBezTo>
                  <a:cubicBezTo>
                    <a:pt x="685" y="393"/>
                    <a:pt x="672" y="407"/>
                    <a:pt x="655" y="407"/>
                  </a:cubicBezTo>
                  <a:close/>
                  <a:moveTo>
                    <a:pt x="74" y="42"/>
                  </a:moveTo>
                  <a:cubicBezTo>
                    <a:pt x="91" y="42"/>
                    <a:pt x="105" y="56"/>
                    <a:pt x="105" y="73"/>
                  </a:cubicBezTo>
                  <a:cubicBezTo>
                    <a:pt x="105" y="90"/>
                    <a:pt x="91" y="104"/>
                    <a:pt x="74" y="104"/>
                  </a:cubicBezTo>
                  <a:cubicBezTo>
                    <a:pt x="57" y="104"/>
                    <a:pt x="43" y="90"/>
                    <a:pt x="43" y="73"/>
                  </a:cubicBezTo>
                  <a:cubicBezTo>
                    <a:pt x="43" y="56"/>
                    <a:pt x="57" y="42"/>
                    <a:pt x="74" y="42"/>
                  </a:cubicBezTo>
                  <a:close/>
                  <a:moveTo>
                    <a:pt x="74" y="147"/>
                  </a:moveTo>
                  <a:cubicBezTo>
                    <a:pt x="105" y="147"/>
                    <a:pt x="133" y="127"/>
                    <a:pt x="143" y="98"/>
                  </a:cubicBezTo>
                  <a:lnTo>
                    <a:pt x="632" y="98"/>
                  </a:lnTo>
                  <a:lnTo>
                    <a:pt x="632" y="306"/>
                  </a:lnTo>
                  <a:cubicBezTo>
                    <a:pt x="602" y="315"/>
                    <a:pt x="581" y="344"/>
                    <a:pt x="581" y="376"/>
                  </a:cubicBezTo>
                  <a:cubicBezTo>
                    <a:pt x="581" y="416"/>
                    <a:pt x="614" y="449"/>
                    <a:pt x="655" y="449"/>
                  </a:cubicBezTo>
                  <a:cubicBezTo>
                    <a:pt x="695" y="449"/>
                    <a:pt x="728" y="416"/>
                    <a:pt x="728" y="376"/>
                  </a:cubicBezTo>
                  <a:cubicBezTo>
                    <a:pt x="728" y="344"/>
                    <a:pt x="707" y="315"/>
                    <a:pt x="677" y="306"/>
                  </a:cubicBezTo>
                  <a:lnTo>
                    <a:pt x="677" y="75"/>
                  </a:lnTo>
                  <a:cubicBezTo>
                    <a:pt x="677" y="63"/>
                    <a:pt x="667" y="53"/>
                    <a:pt x="655" y="53"/>
                  </a:cubicBezTo>
                  <a:lnTo>
                    <a:pt x="145" y="53"/>
                  </a:lnTo>
                  <a:cubicBezTo>
                    <a:pt x="135" y="21"/>
                    <a:pt x="107" y="0"/>
                    <a:pt x="74" y="0"/>
                  </a:cubicBezTo>
                  <a:cubicBezTo>
                    <a:pt x="33" y="0"/>
                    <a:pt x="0" y="33"/>
                    <a:pt x="0" y="73"/>
                  </a:cubicBezTo>
                  <a:cubicBezTo>
                    <a:pt x="0" y="114"/>
                    <a:pt x="33" y="147"/>
                    <a:pt x="74" y="14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194"/>
            <p:cNvSpPr>
              <a:spLocks noEditPoints="1"/>
            </p:cNvSpPr>
            <p:nvPr/>
          </p:nvSpPr>
          <p:spPr bwMode="auto">
            <a:xfrm>
              <a:off x="3284538" y="4525963"/>
              <a:ext cx="190500" cy="106363"/>
            </a:xfrm>
            <a:custGeom>
              <a:avLst/>
              <a:gdLst>
                <a:gd name="T0" fmla="*/ 194 w 268"/>
                <a:gd name="T1" fmla="*/ 43 h 148"/>
                <a:gd name="T2" fmla="*/ 225 w 268"/>
                <a:gd name="T3" fmla="*/ 74 h 148"/>
                <a:gd name="T4" fmla="*/ 194 w 268"/>
                <a:gd name="T5" fmla="*/ 105 h 148"/>
                <a:gd name="T6" fmla="*/ 163 w 268"/>
                <a:gd name="T7" fmla="*/ 74 h 148"/>
                <a:gd name="T8" fmla="*/ 194 w 268"/>
                <a:gd name="T9" fmla="*/ 43 h 148"/>
                <a:gd name="T10" fmla="*/ 45 w 268"/>
                <a:gd name="T11" fmla="*/ 140 h 148"/>
                <a:gd name="T12" fmla="*/ 45 w 268"/>
                <a:gd name="T13" fmla="*/ 97 h 148"/>
                <a:gd name="T14" fmla="*/ 124 w 268"/>
                <a:gd name="T15" fmla="*/ 97 h 148"/>
                <a:gd name="T16" fmla="*/ 194 w 268"/>
                <a:gd name="T17" fmla="*/ 148 h 148"/>
                <a:gd name="T18" fmla="*/ 268 w 268"/>
                <a:gd name="T19" fmla="*/ 74 h 148"/>
                <a:gd name="T20" fmla="*/ 194 w 268"/>
                <a:gd name="T21" fmla="*/ 0 h 148"/>
                <a:gd name="T22" fmla="*/ 124 w 268"/>
                <a:gd name="T23" fmla="*/ 52 h 148"/>
                <a:gd name="T24" fmla="*/ 23 w 268"/>
                <a:gd name="T25" fmla="*/ 52 h 148"/>
                <a:gd name="T26" fmla="*/ 0 w 268"/>
                <a:gd name="T27" fmla="*/ 74 h 148"/>
                <a:gd name="T28" fmla="*/ 0 w 268"/>
                <a:gd name="T29" fmla="*/ 126 h 148"/>
                <a:gd name="T30" fmla="*/ 45 w 268"/>
                <a:gd name="T31" fmla="*/ 14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8" h="148">
                  <a:moveTo>
                    <a:pt x="194" y="43"/>
                  </a:moveTo>
                  <a:cubicBezTo>
                    <a:pt x="211" y="43"/>
                    <a:pt x="225" y="57"/>
                    <a:pt x="225" y="74"/>
                  </a:cubicBezTo>
                  <a:cubicBezTo>
                    <a:pt x="225" y="91"/>
                    <a:pt x="211" y="105"/>
                    <a:pt x="194" y="105"/>
                  </a:cubicBezTo>
                  <a:cubicBezTo>
                    <a:pt x="177" y="105"/>
                    <a:pt x="163" y="91"/>
                    <a:pt x="163" y="74"/>
                  </a:cubicBezTo>
                  <a:cubicBezTo>
                    <a:pt x="163" y="57"/>
                    <a:pt x="177" y="43"/>
                    <a:pt x="194" y="43"/>
                  </a:cubicBezTo>
                  <a:close/>
                  <a:moveTo>
                    <a:pt x="45" y="140"/>
                  </a:moveTo>
                  <a:lnTo>
                    <a:pt x="45" y="97"/>
                  </a:lnTo>
                  <a:lnTo>
                    <a:pt x="124" y="97"/>
                  </a:lnTo>
                  <a:cubicBezTo>
                    <a:pt x="134" y="127"/>
                    <a:pt x="162" y="148"/>
                    <a:pt x="194" y="148"/>
                  </a:cubicBezTo>
                  <a:cubicBezTo>
                    <a:pt x="235" y="148"/>
                    <a:pt x="268" y="115"/>
                    <a:pt x="268" y="74"/>
                  </a:cubicBezTo>
                  <a:cubicBezTo>
                    <a:pt x="268" y="34"/>
                    <a:pt x="235" y="0"/>
                    <a:pt x="194" y="0"/>
                  </a:cubicBezTo>
                  <a:cubicBezTo>
                    <a:pt x="162" y="0"/>
                    <a:pt x="134" y="21"/>
                    <a:pt x="124" y="52"/>
                  </a:cubicBezTo>
                  <a:lnTo>
                    <a:pt x="23" y="52"/>
                  </a:lnTo>
                  <a:cubicBezTo>
                    <a:pt x="10" y="52"/>
                    <a:pt x="0" y="62"/>
                    <a:pt x="0" y="74"/>
                  </a:cubicBezTo>
                  <a:lnTo>
                    <a:pt x="0" y="126"/>
                  </a:lnTo>
                  <a:cubicBezTo>
                    <a:pt x="16" y="130"/>
                    <a:pt x="31" y="134"/>
                    <a:pt x="45" y="14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195"/>
            <p:cNvSpPr>
              <a:spLocks/>
            </p:cNvSpPr>
            <p:nvPr/>
          </p:nvSpPr>
          <p:spPr bwMode="auto">
            <a:xfrm>
              <a:off x="3162300" y="4754563"/>
              <a:ext cx="179388" cy="225425"/>
            </a:xfrm>
            <a:custGeom>
              <a:avLst/>
              <a:gdLst>
                <a:gd name="T0" fmla="*/ 0 w 252"/>
                <a:gd name="T1" fmla="*/ 214 h 317"/>
                <a:gd name="T2" fmla="*/ 18 w 252"/>
                <a:gd name="T3" fmla="*/ 300 h 317"/>
                <a:gd name="T4" fmla="*/ 98 w 252"/>
                <a:gd name="T5" fmla="*/ 315 h 317"/>
                <a:gd name="T6" fmla="*/ 61 w 252"/>
                <a:gd name="T7" fmla="*/ 214 h 317"/>
                <a:gd name="T8" fmla="*/ 215 w 252"/>
                <a:gd name="T9" fmla="*/ 60 h 317"/>
                <a:gd name="T10" fmla="*/ 252 w 252"/>
                <a:gd name="T11" fmla="*/ 64 h 317"/>
                <a:gd name="T12" fmla="*/ 202 w 252"/>
                <a:gd name="T13" fmla="*/ 0 h 317"/>
                <a:gd name="T14" fmla="*/ 0 w 252"/>
                <a:gd name="T15" fmla="*/ 214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317">
                  <a:moveTo>
                    <a:pt x="0" y="214"/>
                  </a:moveTo>
                  <a:cubicBezTo>
                    <a:pt x="0" y="245"/>
                    <a:pt x="7" y="273"/>
                    <a:pt x="18" y="300"/>
                  </a:cubicBezTo>
                  <a:cubicBezTo>
                    <a:pt x="44" y="313"/>
                    <a:pt x="81" y="317"/>
                    <a:pt x="98" y="315"/>
                  </a:cubicBezTo>
                  <a:cubicBezTo>
                    <a:pt x="75" y="288"/>
                    <a:pt x="61" y="253"/>
                    <a:pt x="61" y="214"/>
                  </a:cubicBezTo>
                  <a:cubicBezTo>
                    <a:pt x="61" y="129"/>
                    <a:pt x="130" y="60"/>
                    <a:pt x="215" y="60"/>
                  </a:cubicBezTo>
                  <a:cubicBezTo>
                    <a:pt x="231" y="60"/>
                    <a:pt x="244" y="62"/>
                    <a:pt x="252" y="64"/>
                  </a:cubicBezTo>
                  <a:cubicBezTo>
                    <a:pt x="245" y="46"/>
                    <a:pt x="217" y="9"/>
                    <a:pt x="202" y="0"/>
                  </a:cubicBezTo>
                  <a:cubicBezTo>
                    <a:pt x="90" y="7"/>
                    <a:pt x="0" y="100"/>
                    <a:pt x="0" y="21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196"/>
            <p:cNvSpPr>
              <a:spLocks/>
            </p:cNvSpPr>
            <p:nvPr/>
          </p:nvSpPr>
          <p:spPr bwMode="auto">
            <a:xfrm>
              <a:off x="3370263" y="4660900"/>
              <a:ext cx="411163" cy="398463"/>
            </a:xfrm>
            <a:custGeom>
              <a:avLst/>
              <a:gdLst>
                <a:gd name="T0" fmla="*/ 577 w 577"/>
                <a:gd name="T1" fmla="*/ 363 h 561"/>
                <a:gd name="T2" fmla="*/ 370 w 577"/>
                <a:gd name="T3" fmla="*/ 166 h 561"/>
                <a:gd name="T4" fmla="*/ 268 w 577"/>
                <a:gd name="T5" fmla="*/ 44 h 561"/>
                <a:gd name="T6" fmla="*/ 58 w 577"/>
                <a:gd name="T7" fmla="*/ 30 h 561"/>
                <a:gd name="T8" fmla="*/ 96 w 577"/>
                <a:gd name="T9" fmla="*/ 80 h 561"/>
                <a:gd name="T10" fmla="*/ 241 w 577"/>
                <a:gd name="T11" fmla="*/ 98 h 561"/>
                <a:gd name="T12" fmla="*/ 321 w 577"/>
                <a:gd name="T13" fmla="*/ 214 h 561"/>
                <a:gd name="T14" fmla="*/ 350 w 577"/>
                <a:gd name="T15" fmla="*/ 229 h 561"/>
                <a:gd name="T16" fmla="*/ 380 w 577"/>
                <a:gd name="T17" fmla="*/ 226 h 561"/>
                <a:gd name="T18" fmla="*/ 517 w 577"/>
                <a:gd name="T19" fmla="*/ 363 h 561"/>
                <a:gd name="T20" fmla="*/ 380 w 577"/>
                <a:gd name="T21" fmla="*/ 501 h 561"/>
                <a:gd name="T22" fmla="*/ 66 w 577"/>
                <a:gd name="T23" fmla="*/ 501 h 561"/>
                <a:gd name="T24" fmla="*/ 0 w 577"/>
                <a:gd name="T25" fmla="*/ 561 h 561"/>
                <a:gd name="T26" fmla="*/ 380 w 577"/>
                <a:gd name="T27" fmla="*/ 561 h 561"/>
                <a:gd name="T28" fmla="*/ 577 w 577"/>
                <a:gd name="T29" fmla="*/ 363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7" h="561">
                  <a:moveTo>
                    <a:pt x="577" y="363"/>
                  </a:moveTo>
                  <a:cubicBezTo>
                    <a:pt x="577" y="251"/>
                    <a:pt x="484" y="160"/>
                    <a:pt x="370" y="166"/>
                  </a:cubicBezTo>
                  <a:cubicBezTo>
                    <a:pt x="351" y="114"/>
                    <a:pt x="320" y="76"/>
                    <a:pt x="268" y="44"/>
                  </a:cubicBezTo>
                  <a:cubicBezTo>
                    <a:pt x="212" y="8"/>
                    <a:pt x="123" y="0"/>
                    <a:pt x="58" y="30"/>
                  </a:cubicBezTo>
                  <a:cubicBezTo>
                    <a:pt x="72" y="46"/>
                    <a:pt x="85" y="62"/>
                    <a:pt x="96" y="80"/>
                  </a:cubicBezTo>
                  <a:cubicBezTo>
                    <a:pt x="133" y="69"/>
                    <a:pt x="191" y="64"/>
                    <a:pt x="241" y="98"/>
                  </a:cubicBezTo>
                  <a:cubicBezTo>
                    <a:pt x="298" y="136"/>
                    <a:pt x="312" y="179"/>
                    <a:pt x="321" y="214"/>
                  </a:cubicBezTo>
                  <a:cubicBezTo>
                    <a:pt x="323" y="224"/>
                    <a:pt x="335" y="231"/>
                    <a:pt x="350" y="229"/>
                  </a:cubicBezTo>
                  <a:cubicBezTo>
                    <a:pt x="362" y="227"/>
                    <a:pt x="372" y="226"/>
                    <a:pt x="380" y="226"/>
                  </a:cubicBezTo>
                  <a:cubicBezTo>
                    <a:pt x="456" y="226"/>
                    <a:pt x="517" y="288"/>
                    <a:pt x="517" y="363"/>
                  </a:cubicBezTo>
                  <a:cubicBezTo>
                    <a:pt x="517" y="439"/>
                    <a:pt x="456" y="501"/>
                    <a:pt x="380" y="501"/>
                  </a:cubicBezTo>
                  <a:lnTo>
                    <a:pt x="66" y="501"/>
                  </a:lnTo>
                  <a:cubicBezTo>
                    <a:pt x="47" y="523"/>
                    <a:pt x="25" y="543"/>
                    <a:pt x="0" y="561"/>
                  </a:cubicBezTo>
                  <a:lnTo>
                    <a:pt x="380" y="561"/>
                  </a:lnTo>
                  <a:cubicBezTo>
                    <a:pt x="489" y="561"/>
                    <a:pt x="577" y="472"/>
                    <a:pt x="577" y="36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197"/>
            <p:cNvSpPr>
              <a:spLocks noEditPoints="1"/>
            </p:cNvSpPr>
            <p:nvPr/>
          </p:nvSpPr>
          <p:spPr bwMode="auto">
            <a:xfrm>
              <a:off x="2879725" y="4638675"/>
              <a:ext cx="592138" cy="555625"/>
            </a:xfrm>
            <a:custGeom>
              <a:avLst/>
              <a:gdLst>
                <a:gd name="T0" fmla="*/ 284 w 830"/>
                <a:gd name="T1" fmla="*/ 411 h 781"/>
                <a:gd name="T2" fmla="*/ 376 w 830"/>
                <a:gd name="T3" fmla="*/ 98 h 781"/>
                <a:gd name="T4" fmla="*/ 487 w 830"/>
                <a:gd name="T5" fmla="*/ 70 h 781"/>
                <a:gd name="T6" fmla="*/ 689 w 830"/>
                <a:gd name="T7" fmla="*/ 189 h 781"/>
                <a:gd name="T8" fmla="*/ 598 w 830"/>
                <a:gd name="T9" fmla="*/ 503 h 781"/>
                <a:gd name="T10" fmla="*/ 487 w 830"/>
                <a:gd name="T11" fmla="*/ 531 h 781"/>
                <a:gd name="T12" fmla="*/ 284 w 830"/>
                <a:gd name="T13" fmla="*/ 411 h 781"/>
                <a:gd name="T14" fmla="*/ 488 w 830"/>
                <a:gd name="T15" fmla="*/ 601 h 781"/>
                <a:gd name="T16" fmla="*/ 631 w 830"/>
                <a:gd name="T17" fmla="*/ 564 h 781"/>
                <a:gd name="T18" fmla="*/ 750 w 830"/>
                <a:gd name="T19" fmla="*/ 156 h 781"/>
                <a:gd name="T20" fmla="*/ 487 w 830"/>
                <a:gd name="T21" fmla="*/ 0 h 781"/>
                <a:gd name="T22" fmla="*/ 343 w 830"/>
                <a:gd name="T23" fmla="*/ 37 h 781"/>
                <a:gd name="T24" fmla="*/ 222 w 830"/>
                <a:gd name="T25" fmla="*/ 441 h 781"/>
                <a:gd name="T26" fmla="*/ 53 w 830"/>
                <a:gd name="T27" fmla="*/ 585 h 781"/>
                <a:gd name="T28" fmla="*/ 48 w 830"/>
                <a:gd name="T29" fmla="*/ 747 h 781"/>
                <a:gd name="T30" fmla="*/ 128 w 830"/>
                <a:gd name="T31" fmla="*/ 781 h 781"/>
                <a:gd name="T32" fmla="*/ 210 w 830"/>
                <a:gd name="T33" fmla="*/ 741 h 781"/>
                <a:gd name="T34" fmla="*/ 353 w 830"/>
                <a:gd name="T35" fmla="*/ 569 h 781"/>
                <a:gd name="T36" fmla="*/ 488 w 830"/>
                <a:gd name="T37" fmla="*/ 601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30" h="781">
                  <a:moveTo>
                    <a:pt x="284" y="411"/>
                  </a:moveTo>
                  <a:cubicBezTo>
                    <a:pt x="224" y="299"/>
                    <a:pt x="264" y="159"/>
                    <a:pt x="376" y="98"/>
                  </a:cubicBezTo>
                  <a:cubicBezTo>
                    <a:pt x="411" y="79"/>
                    <a:pt x="449" y="70"/>
                    <a:pt x="487" y="70"/>
                  </a:cubicBezTo>
                  <a:cubicBezTo>
                    <a:pt x="568" y="70"/>
                    <a:pt x="647" y="113"/>
                    <a:pt x="689" y="189"/>
                  </a:cubicBezTo>
                  <a:cubicBezTo>
                    <a:pt x="750" y="301"/>
                    <a:pt x="709" y="441"/>
                    <a:pt x="598" y="503"/>
                  </a:cubicBezTo>
                  <a:cubicBezTo>
                    <a:pt x="562" y="522"/>
                    <a:pt x="525" y="531"/>
                    <a:pt x="487" y="531"/>
                  </a:cubicBezTo>
                  <a:cubicBezTo>
                    <a:pt x="406" y="531"/>
                    <a:pt x="327" y="487"/>
                    <a:pt x="284" y="411"/>
                  </a:cubicBezTo>
                  <a:close/>
                  <a:moveTo>
                    <a:pt x="488" y="601"/>
                  </a:moveTo>
                  <a:cubicBezTo>
                    <a:pt x="536" y="601"/>
                    <a:pt x="585" y="589"/>
                    <a:pt x="631" y="564"/>
                  </a:cubicBezTo>
                  <a:cubicBezTo>
                    <a:pt x="777" y="484"/>
                    <a:pt x="830" y="302"/>
                    <a:pt x="750" y="156"/>
                  </a:cubicBezTo>
                  <a:cubicBezTo>
                    <a:pt x="696" y="56"/>
                    <a:pt x="593" y="0"/>
                    <a:pt x="487" y="0"/>
                  </a:cubicBezTo>
                  <a:cubicBezTo>
                    <a:pt x="438" y="0"/>
                    <a:pt x="388" y="12"/>
                    <a:pt x="343" y="37"/>
                  </a:cubicBezTo>
                  <a:cubicBezTo>
                    <a:pt x="198" y="116"/>
                    <a:pt x="145" y="296"/>
                    <a:pt x="222" y="441"/>
                  </a:cubicBezTo>
                  <a:lnTo>
                    <a:pt x="53" y="585"/>
                  </a:lnTo>
                  <a:cubicBezTo>
                    <a:pt x="4" y="626"/>
                    <a:pt x="0" y="701"/>
                    <a:pt x="48" y="747"/>
                  </a:cubicBezTo>
                  <a:cubicBezTo>
                    <a:pt x="71" y="769"/>
                    <a:pt x="99" y="781"/>
                    <a:pt x="128" y="781"/>
                  </a:cubicBezTo>
                  <a:cubicBezTo>
                    <a:pt x="158" y="781"/>
                    <a:pt x="188" y="768"/>
                    <a:pt x="210" y="741"/>
                  </a:cubicBezTo>
                  <a:lnTo>
                    <a:pt x="353" y="569"/>
                  </a:lnTo>
                  <a:cubicBezTo>
                    <a:pt x="395" y="590"/>
                    <a:pt x="441" y="601"/>
                    <a:pt x="488" y="60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6" name="Boiling_flask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CE6122F-99F3-4D17-9F95-3E594459563F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3991295" y="4711784"/>
            <a:ext cx="319164" cy="542925"/>
            <a:chOff x="5000323" y="3030031"/>
            <a:chExt cx="1217066" cy="2070332"/>
          </a:xfrm>
          <a:solidFill>
            <a:schemeClr val="bg2">
              <a:lumMod val="60000"/>
              <a:lumOff val="40000"/>
            </a:schemeClr>
          </a:solidFill>
        </p:grpSpPr>
        <p:sp>
          <p:nvSpPr>
            <p:cNvPr id="147" name="Freeform: Shape 1298">
              <a:extLst>
                <a:ext uri="{FF2B5EF4-FFF2-40B4-BE49-F238E27FC236}">
                  <a16:creationId xmlns:a16="http://schemas.microsoft.com/office/drawing/2014/main" id="{E673C4CF-E53E-45C1-AF98-647B7B6532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00323" y="3030031"/>
              <a:ext cx="1217066" cy="2070332"/>
            </a:xfrm>
            <a:custGeom>
              <a:avLst/>
              <a:gdLst>
                <a:gd name="connsiteX0" fmla="*/ 318423 w 1217066"/>
                <a:gd name="connsiteY0" fmla="*/ 58276 h 2070332"/>
                <a:gd name="connsiteX1" fmla="*/ 404106 w 1217066"/>
                <a:gd name="connsiteY1" fmla="*/ 237029 h 2070332"/>
                <a:gd name="connsiteX2" fmla="*/ 404106 w 1217066"/>
                <a:gd name="connsiteY2" fmla="*/ 992128 h 2070332"/>
                <a:gd name="connsiteX3" fmla="*/ 393198 w 1217066"/>
                <a:gd name="connsiteY3" fmla="*/ 995514 h 2070332"/>
                <a:gd name="connsiteX4" fmla="*/ 55321 w 1217066"/>
                <a:gd name="connsiteY4" fmla="*/ 1505252 h 2070332"/>
                <a:gd name="connsiteX5" fmla="*/ 299227 w 1217066"/>
                <a:gd name="connsiteY5" fmla="*/ 1963984 h 2070332"/>
                <a:gd name="connsiteX6" fmla="*/ 389009 w 1217066"/>
                <a:gd name="connsiteY6" fmla="*/ 2012716 h 2070332"/>
                <a:gd name="connsiteX7" fmla="*/ 828058 w 1217066"/>
                <a:gd name="connsiteY7" fmla="*/ 2012716 h 2070332"/>
                <a:gd name="connsiteX8" fmla="*/ 917840 w 1217066"/>
                <a:gd name="connsiteY8" fmla="*/ 1963984 h 2070332"/>
                <a:gd name="connsiteX9" fmla="*/ 1161745 w 1217066"/>
                <a:gd name="connsiteY9" fmla="*/ 1505252 h 2070332"/>
                <a:gd name="connsiteX10" fmla="*/ 823869 w 1217066"/>
                <a:gd name="connsiteY10" fmla="*/ 995514 h 2070332"/>
                <a:gd name="connsiteX11" fmla="*/ 777051 w 1217066"/>
                <a:gd name="connsiteY11" fmla="*/ 980981 h 2070332"/>
                <a:gd name="connsiteX12" fmla="*/ 777051 w 1217066"/>
                <a:gd name="connsiteY12" fmla="*/ 237025 h 2070332"/>
                <a:gd name="connsiteX13" fmla="*/ 862732 w 1217066"/>
                <a:gd name="connsiteY13" fmla="*/ 58276 h 2070332"/>
                <a:gd name="connsiteX14" fmla="*/ 228341 w 1217066"/>
                <a:gd name="connsiteY14" fmla="*/ 0 h 2070332"/>
                <a:gd name="connsiteX15" fmla="*/ 952816 w 1217066"/>
                <a:gd name="connsiteY15" fmla="*/ 0 h 2070332"/>
                <a:gd name="connsiteX16" fmla="*/ 838774 w 1217066"/>
                <a:gd name="connsiteY16" fmla="*/ 196624 h 2070332"/>
                <a:gd name="connsiteX17" fmla="*/ 838774 w 1217066"/>
                <a:gd name="connsiteY17" fmla="*/ 942484 h 2070332"/>
                <a:gd name="connsiteX18" fmla="*/ 845402 w 1217066"/>
                <a:gd name="connsiteY18" fmla="*/ 944541 h 2070332"/>
                <a:gd name="connsiteX19" fmla="*/ 1217066 w 1217066"/>
                <a:gd name="connsiteY19" fmla="*/ 1505252 h 2070332"/>
                <a:gd name="connsiteX20" fmla="*/ 845402 w 1217066"/>
                <a:gd name="connsiteY20" fmla="*/ 2065964 h 2070332"/>
                <a:gd name="connsiteX21" fmla="*/ 831328 w 1217066"/>
                <a:gd name="connsiteY21" fmla="*/ 2070332 h 2070332"/>
                <a:gd name="connsiteX22" fmla="*/ 385738 w 1217066"/>
                <a:gd name="connsiteY22" fmla="*/ 2070332 h 2070332"/>
                <a:gd name="connsiteX23" fmla="*/ 371665 w 1217066"/>
                <a:gd name="connsiteY23" fmla="*/ 2065964 h 2070332"/>
                <a:gd name="connsiteX24" fmla="*/ 0 w 1217066"/>
                <a:gd name="connsiteY24" fmla="*/ 1505252 h 2070332"/>
                <a:gd name="connsiteX25" fmla="*/ 268297 w 1217066"/>
                <a:gd name="connsiteY25" fmla="*/ 1000647 h 2070332"/>
                <a:gd name="connsiteX26" fmla="*/ 342385 w 1217066"/>
                <a:gd name="connsiteY26" fmla="*/ 960433 h 2070332"/>
                <a:gd name="connsiteX27" fmla="*/ 342385 w 1217066"/>
                <a:gd name="connsiteY27" fmla="*/ 196628 h 207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217066" h="2070332">
                  <a:moveTo>
                    <a:pt x="318423" y="58276"/>
                  </a:moveTo>
                  <a:lnTo>
                    <a:pt x="404106" y="237029"/>
                  </a:lnTo>
                  <a:lnTo>
                    <a:pt x="404106" y="992128"/>
                  </a:lnTo>
                  <a:lnTo>
                    <a:pt x="393198" y="995514"/>
                  </a:lnTo>
                  <a:cubicBezTo>
                    <a:pt x="194642" y="1079496"/>
                    <a:pt x="55321" y="1276104"/>
                    <a:pt x="55321" y="1505252"/>
                  </a:cubicBezTo>
                  <a:cubicBezTo>
                    <a:pt x="55321" y="1696209"/>
                    <a:pt x="152072" y="1864568"/>
                    <a:pt x="299227" y="1963984"/>
                  </a:cubicBezTo>
                  <a:lnTo>
                    <a:pt x="389009" y="2012716"/>
                  </a:lnTo>
                  <a:lnTo>
                    <a:pt x="828058" y="2012716"/>
                  </a:lnTo>
                  <a:lnTo>
                    <a:pt x="917840" y="1963984"/>
                  </a:lnTo>
                  <a:cubicBezTo>
                    <a:pt x="1064995" y="1864568"/>
                    <a:pt x="1161745" y="1696209"/>
                    <a:pt x="1161745" y="1505252"/>
                  </a:cubicBezTo>
                  <a:cubicBezTo>
                    <a:pt x="1161745" y="1276104"/>
                    <a:pt x="1022425" y="1079496"/>
                    <a:pt x="823869" y="995514"/>
                  </a:cubicBezTo>
                  <a:lnTo>
                    <a:pt x="777051" y="980981"/>
                  </a:lnTo>
                  <a:lnTo>
                    <a:pt x="777051" y="237025"/>
                  </a:lnTo>
                  <a:lnTo>
                    <a:pt x="862732" y="58276"/>
                  </a:lnTo>
                  <a:close/>
                  <a:moveTo>
                    <a:pt x="228341" y="0"/>
                  </a:moveTo>
                  <a:lnTo>
                    <a:pt x="952816" y="0"/>
                  </a:lnTo>
                  <a:lnTo>
                    <a:pt x="838774" y="196624"/>
                  </a:lnTo>
                  <a:lnTo>
                    <a:pt x="838774" y="942484"/>
                  </a:lnTo>
                  <a:lnTo>
                    <a:pt x="845402" y="944541"/>
                  </a:lnTo>
                  <a:cubicBezTo>
                    <a:pt x="1063813" y="1036921"/>
                    <a:pt x="1217066" y="1253190"/>
                    <a:pt x="1217066" y="1505252"/>
                  </a:cubicBezTo>
                  <a:cubicBezTo>
                    <a:pt x="1217066" y="1757315"/>
                    <a:pt x="1063813" y="1973583"/>
                    <a:pt x="845402" y="2065964"/>
                  </a:cubicBezTo>
                  <a:lnTo>
                    <a:pt x="831328" y="2070332"/>
                  </a:lnTo>
                  <a:lnTo>
                    <a:pt x="385738" y="2070332"/>
                  </a:lnTo>
                  <a:lnTo>
                    <a:pt x="371665" y="2065964"/>
                  </a:lnTo>
                  <a:cubicBezTo>
                    <a:pt x="153253" y="1973583"/>
                    <a:pt x="0" y="1757315"/>
                    <a:pt x="0" y="1505252"/>
                  </a:cubicBezTo>
                  <a:cubicBezTo>
                    <a:pt x="0" y="1295200"/>
                    <a:pt x="106426" y="1110005"/>
                    <a:pt x="268297" y="1000647"/>
                  </a:cubicBezTo>
                  <a:lnTo>
                    <a:pt x="342385" y="960433"/>
                  </a:lnTo>
                  <a:lnTo>
                    <a:pt x="342385" y="19662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: Shape 1299">
              <a:extLst>
                <a:ext uri="{FF2B5EF4-FFF2-40B4-BE49-F238E27FC236}">
                  <a16:creationId xmlns:a16="http://schemas.microsoft.com/office/drawing/2014/main" id="{0E25F946-2DD9-4A24-9E4D-1044366F9589}"/>
                </a:ext>
              </a:extLst>
            </p:cNvPr>
            <p:cNvSpPr/>
            <p:nvPr/>
          </p:nvSpPr>
          <p:spPr>
            <a:xfrm>
              <a:off x="5105936" y="4512259"/>
              <a:ext cx="1005840" cy="492782"/>
            </a:xfrm>
            <a:custGeom>
              <a:avLst/>
              <a:gdLst>
                <a:gd name="connsiteX0" fmla="*/ 351469 w 1005840"/>
                <a:gd name="connsiteY0" fmla="*/ 294327 h 492782"/>
                <a:gd name="connsiteX1" fmla="*/ 314576 w 1005840"/>
                <a:gd name="connsiteY1" fmla="*/ 331220 h 492782"/>
                <a:gd name="connsiteX2" fmla="*/ 351469 w 1005840"/>
                <a:gd name="connsiteY2" fmla="*/ 368113 h 492782"/>
                <a:gd name="connsiteX3" fmla="*/ 388362 w 1005840"/>
                <a:gd name="connsiteY3" fmla="*/ 331220 h 492782"/>
                <a:gd name="connsiteX4" fmla="*/ 351469 w 1005840"/>
                <a:gd name="connsiteY4" fmla="*/ 294327 h 492782"/>
                <a:gd name="connsiteX5" fmla="*/ 594361 w 1005840"/>
                <a:gd name="connsiteY5" fmla="*/ 137275 h 492782"/>
                <a:gd name="connsiteX6" fmla="*/ 478576 w 1005840"/>
                <a:gd name="connsiteY6" fmla="*/ 253060 h 492782"/>
                <a:gd name="connsiteX7" fmla="*/ 594361 w 1005840"/>
                <a:gd name="connsiteY7" fmla="*/ 368845 h 492782"/>
                <a:gd name="connsiteX8" fmla="*/ 710146 w 1005840"/>
                <a:gd name="connsiteY8" fmla="*/ 253060 h 492782"/>
                <a:gd name="connsiteX9" fmla="*/ 594361 w 1005840"/>
                <a:gd name="connsiteY9" fmla="*/ 137275 h 492782"/>
                <a:gd name="connsiteX10" fmla="*/ 336666 w 1005840"/>
                <a:gd name="connsiteY10" fmla="*/ 77470 h 492782"/>
                <a:gd name="connsiteX11" fmla="*/ 271308 w 1005840"/>
                <a:gd name="connsiteY11" fmla="*/ 142828 h 492782"/>
                <a:gd name="connsiteX12" fmla="*/ 336666 w 1005840"/>
                <a:gd name="connsiteY12" fmla="*/ 208186 h 492782"/>
                <a:gd name="connsiteX13" fmla="*/ 402024 w 1005840"/>
                <a:gd name="connsiteY13" fmla="*/ 142828 h 492782"/>
                <a:gd name="connsiteX14" fmla="*/ 336666 w 1005840"/>
                <a:gd name="connsiteY14" fmla="*/ 77470 h 492782"/>
                <a:gd name="connsiteX15" fmla="*/ 1022 w 1005840"/>
                <a:gd name="connsiteY15" fmla="*/ 0 h 492782"/>
                <a:gd name="connsiteX16" fmla="*/ 1004818 w 1005840"/>
                <a:gd name="connsiteY16" fmla="*/ 0 h 492782"/>
                <a:gd name="connsiteX17" fmla="*/ 1005840 w 1005840"/>
                <a:gd name="connsiteY17" fmla="*/ 10139 h 492782"/>
                <a:gd name="connsiteX18" fmla="*/ 698679 w 1005840"/>
                <a:gd name="connsiteY18" fmla="*/ 473537 h 492782"/>
                <a:gd name="connsiteX19" fmla="*/ 636682 w 1005840"/>
                <a:gd name="connsiteY19" fmla="*/ 492782 h 492782"/>
                <a:gd name="connsiteX20" fmla="*/ 369158 w 1005840"/>
                <a:gd name="connsiteY20" fmla="*/ 492782 h 492782"/>
                <a:gd name="connsiteX21" fmla="*/ 307161 w 1005840"/>
                <a:gd name="connsiteY21" fmla="*/ 473537 h 492782"/>
                <a:gd name="connsiteX22" fmla="*/ 0 w 1005840"/>
                <a:gd name="connsiteY22" fmla="*/ 10139 h 492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05840" h="492782">
                  <a:moveTo>
                    <a:pt x="351469" y="294327"/>
                  </a:moveTo>
                  <a:cubicBezTo>
                    <a:pt x="331094" y="294327"/>
                    <a:pt x="314576" y="310845"/>
                    <a:pt x="314576" y="331220"/>
                  </a:cubicBezTo>
                  <a:cubicBezTo>
                    <a:pt x="314576" y="351595"/>
                    <a:pt x="331094" y="368113"/>
                    <a:pt x="351469" y="368113"/>
                  </a:cubicBezTo>
                  <a:cubicBezTo>
                    <a:pt x="371844" y="368113"/>
                    <a:pt x="388362" y="351595"/>
                    <a:pt x="388362" y="331220"/>
                  </a:cubicBezTo>
                  <a:cubicBezTo>
                    <a:pt x="388362" y="310845"/>
                    <a:pt x="371844" y="294327"/>
                    <a:pt x="351469" y="294327"/>
                  </a:cubicBezTo>
                  <a:close/>
                  <a:moveTo>
                    <a:pt x="594361" y="137275"/>
                  </a:moveTo>
                  <a:cubicBezTo>
                    <a:pt x="530415" y="137275"/>
                    <a:pt x="478576" y="189114"/>
                    <a:pt x="478576" y="253060"/>
                  </a:cubicBezTo>
                  <a:cubicBezTo>
                    <a:pt x="478576" y="317006"/>
                    <a:pt x="530415" y="368845"/>
                    <a:pt x="594361" y="368845"/>
                  </a:cubicBezTo>
                  <a:cubicBezTo>
                    <a:pt x="658307" y="368845"/>
                    <a:pt x="710146" y="317006"/>
                    <a:pt x="710146" y="253060"/>
                  </a:cubicBezTo>
                  <a:cubicBezTo>
                    <a:pt x="710146" y="189114"/>
                    <a:pt x="658307" y="137275"/>
                    <a:pt x="594361" y="137275"/>
                  </a:cubicBezTo>
                  <a:close/>
                  <a:moveTo>
                    <a:pt x="336666" y="77470"/>
                  </a:moveTo>
                  <a:cubicBezTo>
                    <a:pt x="300570" y="77470"/>
                    <a:pt x="271308" y="106732"/>
                    <a:pt x="271308" y="142828"/>
                  </a:cubicBezTo>
                  <a:cubicBezTo>
                    <a:pt x="271308" y="178924"/>
                    <a:pt x="300570" y="208186"/>
                    <a:pt x="336666" y="208186"/>
                  </a:cubicBezTo>
                  <a:cubicBezTo>
                    <a:pt x="372762" y="208186"/>
                    <a:pt x="402024" y="178924"/>
                    <a:pt x="402024" y="142828"/>
                  </a:cubicBezTo>
                  <a:cubicBezTo>
                    <a:pt x="402024" y="106732"/>
                    <a:pt x="372762" y="77470"/>
                    <a:pt x="336666" y="77470"/>
                  </a:cubicBezTo>
                  <a:close/>
                  <a:moveTo>
                    <a:pt x="1022" y="0"/>
                  </a:moveTo>
                  <a:lnTo>
                    <a:pt x="1004818" y="0"/>
                  </a:lnTo>
                  <a:lnTo>
                    <a:pt x="1005840" y="10139"/>
                  </a:lnTo>
                  <a:cubicBezTo>
                    <a:pt x="1005840" y="218456"/>
                    <a:pt x="879185" y="397190"/>
                    <a:pt x="698679" y="473537"/>
                  </a:cubicBezTo>
                  <a:lnTo>
                    <a:pt x="636682" y="492782"/>
                  </a:lnTo>
                  <a:lnTo>
                    <a:pt x="369158" y="492782"/>
                  </a:lnTo>
                  <a:lnTo>
                    <a:pt x="307161" y="473537"/>
                  </a:lnTo>
                  <a:cubicBezTo>
                    <a:pt x="126656" y="397190"/>
                    <a:pt x="0" y="218456"/>
                    <a:pt x="0" y="10139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5895669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Arrow_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Goal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rklift_POWER_USER_SEPARATOR_ICONS_factory_POWER_USER_SEPARATOR_ICONS_industry_POWER_USER_SEPARATOR_ICONS_machine_POWER_USER_SEPARATOR_ICONS_work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rklift_POWER_USER_SEPARATOR_ICONS_factory_POWER_USER_SEPARATOR_ICONS_industry_POWER_USER_SEPARATOR_ICONS_machine_POWER_USER_SEPARATOR_ICONS_wor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Cycle_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ar chart*graph*statistics*data*figures*numbers*analytics*analysis*dashboard*column char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ig data*analytics*analysis*cloud*AI*artificial intelligence*machine learnin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iling flask*chemistry*science*experimen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ok-shelf_POWER_USER_SEPARATOR_ICONS_littérature_POWER_USER_SEPARATOR_ICONS_library_POWER_USER_SEPARATOR_ICONS_write_POWER_USER_SEPARATOR_ICONS_rea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  targetting*targetting*people*goal*technology*big da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292E63A9-BB86-4E3D-B92A-7223C6510D2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6</TotalTime>
  <Words>1474</Words>
  <Application>Microsoft Office PowerPoint</Application>
  <PresentationFormat>Ευρεία οθόνη</PresentationFormat>
  <Paragraphs>174</Paragraphs>
  <Slides>18</Slides>
  <Notes>5</Notes>
  <HiddenSlides>0</HiddenSlides>
  <MMClips>0</MMClips>
  <ScaleCrop>false</ScaleCrop>
  <HeadingPairs>
    <vt:vector size="6" baseType="variant">
      <vt:variant>
        <vt:lpstr>Γραμματοσειρές που χρησιμοποιούνται</vt:lpstr>
      </vt:variant>
      <vt:variant>
        <vt:i4>5</vt:i4>
      </vt:variant>
      <vt:variant>
        <vt:lpstr>Θέμα</vt:lpstr>
      </vt:variant>
      <vt:variant>
        <vt:i4>1</vt:i4>
      </vt:variant>
      <vt:variant>
        <vt:lpstr>Τίτλοι διαφανειών</vt:lpstr>
      </vt:variant>
      <vt:variant>
        <vt:i4>18</vt:i4>
      </vt:variant>
    </vt:vector>
  </HeadingPairs>
  <TitlesOfParts>
    <vt:vector size="24" baseType="lpstr">
      <vt:lpstr>Wingdings 3</vt:lpstr>
      <vt:lpstr>Arial</vt:lpstr>
      <vt:lpstr>Calibri</vt:lpstr>
      <vt:lpstr>Century Gothic</vt:lpstr>
      <vt:lpstr>Wingdings</vt:lpstr>
      <vt:lpstr>Ion</vt:lpstr>
      <vt:lpstr>Παρουσίαση του PowerPoint</vt:lpstr>
      <vt:lpstr>Παρουσίαση του PowerPoint</vt:lpstr>
      <vt:lpstr>Contents</vt:lpstr>
      <vt:lpstr>Παρουσίαση του PowerPoint</vt:lpstr>
      <vt:lpstr>Παρουσίαση του PowerPoint</vt:lpstr>
      <vt:lpstr>Assignment Goals About SDGs: The Sustainable Development Goals (SDGs), also known as the Global Goals, were adopted by all United Nations Member States in 2015 as a universal call to action to end poverty, protect the planet and ensure that all people enjoy peace and prosperity by 2030. </vt:lpstr>
      <vt:lpstr>Παρουσίαση του PowerPoint</vt:lpstr>
      <vt:lpstr>Παρουσίαση του PowerPoint</vt:lpstr>
      <vt:lpstr>Data Preprocessing 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LENI KAKAGIANNI</dc:creator>
  <cp:lastModifiedBy>Aris Petrou</cp:lastModifiedBy>
  <cp:revision>18</cp:revision>
  <dcterms:created xsi:type="dcterms:W3CDTF">2020-10-21T21:18:01Z</dcterms:created>
  <dcterms:modified xsi:type="dcterms:W3CDTF">2020-11-18T19:21:12Z</dcterms:modified>
</cp:coreProperties>
</file>